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3"/>
    <p:sldMasterId id="2147483975" r:id="rId14"/>
    <p:sldMasterId id="2147484082" r:id="rId15"/>
    <p:sldMasterId id="2147484000" r:id="rId16"/>
    <p:sldMasterId id="2147484009" r:id="rId17"/>
    <p:sldMasterId id="2147484020" r:id="rId18"/>
    <p:sldMasterId id="2147484026" r:id="rId19"/>
    <p:sldMasterId id="2147484051" r:id="rId20"/>
    <p:sldMasterId id="2147484032" r:id="rId21"/>
  </p:sldMasterIdLst>
  <p:notesMasterIdLst>
    <p:notesMasterId r:id="rId23"/>
  </p:notesMasterIdLst>
  <p:handoutMasterIdLst>
    <p:handoutMasterId r:id="rId24"/>
  </p:handoutMasterIdLst>
  <p:sldIdLst>
    <p:sldId id="2141411707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sa Boyes" initials="LB" lastIdx="4" clrIdx="0"/>
  <p:cmAuthor id="2" name="Natasha Prinsloo" initials="NP" lastIdx="3" clrIdx="1">
    <p:extLst>
      <p:ext uri="{19B8F6BF-5375-455C-9EA6-DF929625EA0E}">
        <p15:presenceInfo xmlns:p15="http://schemas.microsoft.com/office/powerpoint/2012/main" userId="1c35df2814c4ff1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A33"/>
    <a:srgbClr val="B3D755"/>
    <a:srgbClr val="D6D479"/>
    <a:srgbClr val="A9A879"/>
    <a:srgbClr val="D2E0A7"/>
    <a:srgbClr val="D278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92716F-65A9-473D-9103-06BCFFAF2739}" v="56" dt="2020-11-22T15:24:02.220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09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12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1067"/>
    </p:cViewPr>
  </p:sorterViewPr>
  <p:notesViewPr>
    <p:cSldViewPr snapToGrid="0">
      <p:cViewPr varScale="1">
        <p:scale>
          <a:sx n="61" d="100"/>
          <a:sy n="61" d="100"/>
        </p:scale>
        <p:origin x="2390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1.xml"/><Relationship Id="rId18" Type="http://schemas.openxmlformats.org/officeDocument/2006/relationships/slideMaster" Target="slideMasters/slideMaster6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9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5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4.xml"/><Relationship Id="rId20" Type="http://schemas.openxmlformats.org/officeDocument/2006/relationships/slideMaster" Target="slideMasters/slideMaster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7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2.xml"/><Relationship Id="rId22" Type="http://schemas.openxmlformats.org/officeDocument/2006/relationships/slide" Target="slides/slide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84.xml"/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83131E8-FB12-410D-BF61-66026F4B99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F84DA3-B4E6-4214-A070-882C7BF7CE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FD0D9C-4FB5-4727-9E3D-4B02106E0BF8}" type="datetimeFigureOut">
              <a:rPr lang="en-US" smtClean="0"/>
              <a:t>11/2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9E54A-6E6E-45BD-A700-6E2757729E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70E95B-A9AE-4EB9-81E6-ECFE9C38ED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395E8E-A04D-4A46-9BA0-C3F696754EF8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587000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203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203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8336942B-E6A5-475C-AB1E-005DE3D92BF2}" type="datetimeFigureOut">
              <a:rPr lang="en-GB" smtClean="0"/>
              <a:pPr/>
              <a:t>22/1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4743" y="299584"/>
            <a:ext cx="2808514" cy="157979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6114" y="1975757"/>
            <a:ext cx="6625772" cy="6950529"/>
          </a:xfrm>
          <a:prstGeom prst="rect">
            <a:avLst/>
          </a:prstGeom>
        </p:spPr>
        <p:txBody>
          <a:bodyPr vert="horz" lIns="0" tIns="0" rIns="0" bIns="0" numCol="2" spcCol="36000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69829"/>
            <a:ext cx="2971800" cy="1741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969829"/>
            <a:ext cx="2971800" cy="1741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48857A81-DEF9-4B57-AC08-20326D7F815B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77EC378-3C58-4D94-B293-C10FF54A7F4E}"/>
              </a:ext>
            </a:extLst>
          </p:cNvPr>
          <p:cNvCxnSpPr/>
          <p:nvPr/>
        </p:nvCxnSpPr>
        <p:spPr>
          <a:xfrm>
            <a:off x="116114" y="1971974"/>
            <a:ext cx="66257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5975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20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52000" indent="-108000" algn="l" defTabSz="914400" rtl="0" eaLnBrk="1" latinLnBrk="0" hangingPunct="1">
      <a:spcAft>
        <a:spcPts val="2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96000" indent="-108000" algn="l" defTabSz="914400" rtl="0" eaLnBrk="1" latinLnBrk="0" hangingPunct="1">
      <a:spcAft>
        <a:spcPts val="2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08000" algn="l" defTabSz="914400" rtl="0" eaLnBrk="1" latinLnBrk="0" hangingPunct="1">
      <a:spcAft>
        <a:spcPts val="2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84000" indent="-108000" algn="l" defTabSz="914400" rtl="0" eaLnBrk="1" latinLnBrk="0" hangingPunct="1">
      <a:spcAft>
        <a:spcPts val="2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customXml" Target="../../customXml/item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customXml" Target="../../customXml/item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customXml" Target="../../customXml/item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customXml" Target="../../customXml/item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customXml" Target="../../customXml/item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2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2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Relationship Id="rId4" Type="http://schemas.openxmlformats.org/officeDocument/2006/relationships/image" Target="../media/image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8.xml"/><Relationship Id="rId1" Type="http://schemas.openxmlformats.org/officeDocument/2006/relationships/customXml" Target="../../customXml/item1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customXml" Target="../../customXml/item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customXml" Target="../../customXml/item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3.xml"/><Relationship Id="rId1" Type="http://schemas.openxmlformats.org/officeDocument/2006/relationships/customXml" Target="../../customXml/item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DCC3B-CA12-4A4B-B5F5-D2062F3C5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86304"/>
            <a:ext cx="5185093" cy="2649135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506CBD9-0F78-454A-9842-87C2546180B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8475" y="0"/>
            <a:ext cx="6004761" cy="6865200"/>
          </a:xfrm>
          <a:custGeom>
            <a:avLst/>
            <a:gdLst>
              <a:gd name="connsiteX0" fmla="*/ 1547827 w 6004761"/>
              <a:gd name="connsiteY0" fmla="*/ 0 h 6864096"/>
              <a:gd name="connsiteX1" fmla="*/ 6004760 w 6004761"/>
              <a:gd name="connsiteY1" fmla="*/ 0 h 6864096"/>
              <a:gd name="connsiteX2" fmla="*/ 6004761 w 6004761"/>
              <a:gd name="connsiteY2" fmla="*/ 6864096 h 6864096"/>
              <a:gd name="connsiteX3" fmla="*/ 1554450 w 6004761"/>
              <a:gd name="connsiteY3" fmla="*/ 6864096 h 6864096"/>
              <a:gd name="connsiteX4" fmla="*/ 1379124 w 6004761"/>
              <a:gd name="connsiteY4" fmla="*/ 6702826 h 6864096"/>
              <a:gd name="connsiteX5" fmla="*/ 0 w 6004761"/>
              <a:gd name="connsiteY5" fmla="*/ 3429001 h 6864096"/>
              <a:gd name="connsiteX6" fmla="*/ 1379124 w 6004761"/>
              <a:gd name="connsiteY6" fmla="*/ 155178 h 6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04761" h="6864096">
                <a:moveTo>
                  <a:pt x="1547827" y="0"/>
                </a:moveTo>
                <a:lnTo>
                  <a:pt x="6004760" y="0"/>
                </a:lnTo>
                <a:lnTo>
                  <a:pt x="6004761" y="6864096"/>
                </a:lnTo>
                <a:lnTo>
                  <a:pt x="1554450" y="6864096"/>
                </a:lnTo>
                <a:lnTo>
                  <a:pt x="1379124" y="6702826"/>
                </a:lnTo>
                <a:cubicBezTo>
                  <a:pt x="528239" y="5871990"/>
                  <a:pt x="0" y="4712184"/>
                  <a:pt x="0" y="3429001"/>
                </a:cubicBezTo>
                <a:cubicBezTo>
                  <a:pt x="0" y="2145819"/>
                  <a:pt x="528239" y="986013"/>
                  <a:pt x="1379124" y="155178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432000" bIns="64800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Your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pic>
        <p:nvPicPr>
          <p:cNvPr id="7" name="Picture 2" descr="Image result for ASTRAZENECA LOGO">
            <a:extLst>
              <a:ext uri="{FF2B5EF4-FFF2-40B4-BE49-F238E27FC236}">
                <a16:creationId xmlns:a16="http://schemas.microsoft.com/office/drawing/2014/main" id="{1ED72C3C-E918-420F-9374-6F1CBE3946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76" y="576767"/>
            <a:ext cx="2405987" cy="651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E5583-912E-4EA8-8EDC-7B6B86E762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988" y="4328932"/>
            <a:ext cx="5184775" cy="120376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/ presenter na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231862-37A9-4364-9D96-47810B11870D}"/>
              </a:ext>
            </a:extLst>
          </p:cNvPr>
          <p:cNvSpPr/>
          <p:nvPr userDrawn="1"/>
        </p:nvSpPr>
        <p:spPr>
          <a:xfrm>
            <a:off x="342900" y="404813"/>
            <a:ext cx="2794000" cy="920488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6A1CD-3FD6-4AD3-876A-75F060E88A2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407987" y="5887668"/>
            <a:ext cx="1279358" cy="30914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260595-7C87-4D29-977E-EE25A0D9291A}"/>
              </a:ext>
            </a:extLst>
          </p:cNvPr>
          <p:cNvSpPr/>
          <p:nvPr userDrawn="1"/>
        </p:nvSpPr>
        <p:spPr>
          <a:xfrm>
            <a:off x="-2087955" y="1"/>
            <a:ext cx="2064161" cy="6858000"/>
          </a:xfrm>
          <a:custGeom>
            <a:avLst/>
            <a:gdLst>
              <a:gd name="connsiteX0" fmla="*/ 0 w 2064161"/>
              <a:gd name="connsiteY0" fmla="*/ 0 h 6858000"/>
              <a:gd name="connsiteX1" fmla="*/ 2002971 w 2064161"/>
              <a:gd name="connsiteY1" fmla="*/ 0 h 6858000"/>
              <a:gd name="connsiteX2" fmla="*/ 2002971 w 2064161"/>
              <a:gd name="connsiteY2" fmla="*/ 6447122 h 6858000"/>
              <a:gd name="connsiteX3" fmla="*/ 2064161 w 2064161"/>
              <a:gd name="connsiteY3" fmla="*/ 6538118 h 6858000"/>
              <a:gd name="connsiteX4" fmla="*/ 2002971 w 2064161"/>
              <a:gd name="connsiteY4" fmla="*/ 6629114 h 6858000"/>
              <a:gd name="connsiteX5" fmla="*/ 2002971 w 2064161"/>
              <a:gd name="connsiteY5" fmla="*/ 6858000 h 6858000"/>
              <a:gd name="connsiteX6" fmla="*/ 0 w 206416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4161" h="6858000">
                <a:moveTo>
                  <a:pt x="0" y="0"/>
                </a:moveTo>
                <a:lnTo>
                  <a:pt x="2002971" y="0"/>
                </a:lnTo>
                <a:lnTo>
                  <a:pt x="2002971" y="6447122"/>
                </a:lnTo>
                <a:lnTo>
                  <a:pt x="2064161" y="6538118"/>
                </a:lnTo>
                <a:lnTo>
                  <a:pt x="2002971" y="6629114"/>
                </a:lnTo>
                <a:lnTo>
                  <a:pt x="200297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Ins="144000" bIns="216000" rtlCol="0" anchor="b" anchorCtr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Please ensure you have added the correct confidentiality statement. </a:t>
            </a:r>
          </a:p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Type the correct statement: </a:t>
            </a:r>
            <a:br>
              <a:rPr lang="en-GB" sz="1400">
                <a:solidFill>
                  <a:schemeClr val="accent1"/>
                </a:solidFill>
              </a:rPr>
            </a:br>
            <a:r>
              <a:rPr lang="en-GB" sz="1400">
                <a:solidFill>
                  <a:schemeClr val="accent1"/>
                </a:solidFill>
              </a:rPr>
              <a:t>‘</a:t>
            </a:r>
            <a:r>
              <a:rPr lang="en-GB" sz="1400" b="1" i="1">
                <a:solidFill>
                  <a:schemeClr val="accent1"/>
                </a:solidFill>
              </a:rPr>
              <a:t>Company Restricted’ </a:t>
            </a:r>
            <a:r>
              <a:rPr lang="en-GB" sz="1400" b="0">
                <a:solidFill>
                  <a:schemeClr val="tx1"/>
                </a:solidFill>
              </a:rPr>
              <a:t>or</a:t>
            </a:r>
            <a:r>
              <a:rPr lang="en-GB" sz="1400" b="1">
                <a:solidFill>
                  <a:schemeClr val="accent1"/>
                </a:solidFill>
              </a:rPr>
              <a:t> ‘</a:t>
            </a:r>
            <a:r>
              <a:rPr lang="en-GB" sz="1400" b="1" i="1">
                <a:solidFill>
                  <a:schemeClr val="accent1"/>
                </a:solidFill>
              </a:rPr>
              <a:t>Strictly Confidential’ </a:t>
            </a:r>
            <a:r>
              <a:rPr lang="en-GB" sz="1400" b="0" i="1">
                <a:solidFill>
                  <a:schemeClr val="tx1"/>
                </a:solidFill>
              </a:rPr>
              <a:t>.</a:t>
            </a:r>
            <a:r>
              <a:rPr lang="en-GB" sz="1400" b="1" i="1">
                <a:solidFill>
                  <a:schemeClr val="accent1"/>
                </a:solidFill>
              </a:rPr>
              <a:t> </a:t>
            </a:r>
            <a:r>
              <a:rPr lang="en-GB" sz="1400" b="0" i="0">
                <a:solidFill>
                  <a:schemeClr val="tx1"/>
                </a:solidFill>
              </a:rPr>
              <a:t>No statement is needed </a:t>
            </a:r>
            <a:br>
              <a:rPr lang="en-GB" sz="1400" b="0" i="0">
                <a:solidFill>
                  <a:schemeClr val="tx1"/>
                </a:solidFill>
              </a:rPr>
            </a:br>
            <a:r>
              <a:rPr lang="en-GB" sz="1400" b="0" i="0">
                <a:solidFill>
                  <a:schemeClr val="tx1"/>
                </a:solidFill>
              </a:rPr>
              <a:t>for public information. </a:t>
            </a:r>
            <a:endParaRPr lang="en-GB" sz="1400" b="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809C05-E460-4D1A-BC84-C63C988F5D2D}"/>
              </a:ext>
            </a:extLst>
          </p:cNvPr>
          <p:cNvSpPr/>
          <p:nvPr userDrawn="1"/>
        </p:nvSpPr>
        <p:spPr>
          <a:xfrm>
            <a:off x="-1944694" y="3878333"/>
            <a:ext cx="419968" cy="41996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</a:rPr>
              <a:t>!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68ED59-10F2-418A-8E8D-5A205AB6BD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7988" y="6429055"/>
            <a:ext cx="5184775" cy="218128"/>
          </a:xfrm>
        </p:spPr>
        <p:txBody>
          <a:bodyPr lIns="0" tIns="36000" rIns="0" bIns="36000" anchor="ctr" anchorCtr="0">
            <a:spAutoFit/>
          </a:bodyPr>
          <a:lstStyle>
            <a:lvl1pPr marL="0" indent="0">
              <a:buNone/>
              <a:defRPr sz="1050"/>
            </a:lvl1pPr>
            <a:lvl2pPr marL="432000" indent="0">
              <a:buNone/>
              <a:defRPr sz="1050"/>
            </a:lvl2pPr>
            <a:lvl3pPr marL="684000" indent="0">
              <a:buNone/>
              <a:defRPr sz="1050"/>
            </a:lvl3pPr>
            <a:lvl4pPr marL="828000" indent="0">
              <a:buNone/>
              <a:defRPr sz="1050"/>
            </a:lvl4pPr>
            <a:lvl5pPr marL="959400" indent="0">
              <a:buNone/>
              <a:defRPr sz="1050"/>
            </a:lvl5pPr>
          </a:lstStyle>
          <a:p>
            <a:pPr lvl="0"/>
            <a:r>
              <a:rPr lang="en-US"/>
              <a:t>Click to add confidentiality statement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8700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967950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Du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DCC3B-CA12-4A4B-B5F5-D2062F3C5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86304"/>
            <a:ext cx="5185093" cy="2649135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506CBD9-0F78-454A-9842-87C2546180B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88475" y="0"/>
            <a:ext cx="6004761" cy="6865200"/>
          </a:xfrm>
          <a:custGeom>
            <a:avLst/>
            <a:gdLst>
              <a:gd name="connsiteX0" fmla="*/ 1547827 w 6004761"/>
              <a:gd name="connsiteY0" fmla="*/ 0 h 6864096"/>
              <a:gd name="connsiteX1" fmla="*/ 6004760 w 6004761"/>
              <a:gd name="connsiteY1" fmla="*/ 0 h 6864096"/>
              <a:gd name="connsiteX2" fmla="*/ 6004761 w 6004761"/>
              <a:gd name="connsiteY2" fmla="*/ 6864096 h 6864096"/>
              <a:gd name="connsiteX3" fmla="*/ 1554450 w 6004761"/>
              <a:gd name="connsiteY3" fmla="*/ 6864096 h 6864096"/>
              <a:gd name="connsiteX4" fmla="*/ 1379124 w 6004761"/>
              <a:gd name="connsiteY4" fmla="*/ 6702826 h 6864096"/>
              <a:gd name="connsiteX5" fmla="*/ 0 w 6004761"/>
              <a:gd name="connsiteY5" fmla="*/ 3429001 h 6864096"/>
              <a:gd name="connsiteX6" fmla="*/ 1379124 w 6004761"/>
              <a:gd name="connsiteY6" fmla="*/ 155178 h 6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04761" h="6864096">
                <a:moveTo>
                  <a:pt x="1547827" y="0"/>
                </a:moveTo>
                <a:lnTo>
                  <a:pt x="6004760" y="0"/>
                </a:lnTo>
                <a:lnTo>
                  <a:pt x="6004761" y="6864096"/>
                </a:lnTo>
                <a:lnTo>
                  <a:pt x="1554450" y="6864096"/>
                </a:lnTo>
                <a:lnTo>
                  <a:pt x="1379124" y="6702826"/>
                </a:lnTo>
                <a:cubicBezTo>
                  <a:pt x="528239" y="5871990"/>
                  <a:pt x="0" y="4712184"/>
                  <a:pt x="0" y="3429001"/>
                </a:cubicBezTo>
                <a:cubicBezTo>
                  <a:pt x="0" y="2145819"/>
                  <a:pt x="528239" y="986013"/>
                  <a:pt x="1379124" y="155178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91440" tIns="432000" rIns="91440" bIns="648000" rtlCol="0" anchor="ctr">
            <a:noAutofit/>
          </a:bodyPr>
          <a:lstStyle>
            <a:lvl1pPr marL="0" indent="0" algn="ctr">
              <a:buNone/>
              <a:defRPr lang="en-US" sz="16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Your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pic>
        <p:nvPicPr>
          <p:cNvPr id="7" name="Picture 2" descr="Image result for ASTRAZENECA LOGO">
            <a:extLst>
              <a:ext uri="{FF2B5EF4-FFF2-40B4-BE49-F238E27FC236}">
                <a16:creationId xmlns:a16="http://schemas.microsoft.com/office/drawing/2014/main" id="{1ED72C3C-E918-420F-9374-6F1CBE3946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76" y="576767"/>
            <a:ext cx="2405987" cy="651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E5583-912E-4EA8-8EDC-7B6B86E762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988" y="4328932"/>
            <a:ext cx="5184775" cy="120376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/ presenter na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231862-37A9-4364-9D96-47810B11870D}"/>
              </a:ext>
            </a:extLst>
          </p:cNvPr>
          <p:cNvSpPr/>
          <p:nvPr userDrawn="1"/>
        </p:nvSpPr>
        <p:spPr>
          <a:xfrm>
            <a:off x="342900" y="404813"/>
            <a:ext cx="2794000" cy="920488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6A1CD-3FD6-4AD3-876A-75F060E88A2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407987" y="5887668"/>
            <a:ext cx="1279358" cy="30914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894F9465-82DF-4370-9E47-56C71396EFC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530600" y="622299"/>
            <a:ext cx="2062480" cy="635001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Use this placeholder for a secondary logo if needed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F0B1B31-3000-4CD8-BB26-CDF0CF4ED3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7988" y="6429055"/>
            <a:ext cx="5184775" cy="218128"/>
          </a:xfrm>
        </p:spPr>
        <p:txBody>
          <a:bodyPr lIns="0" tIns="36000" rIns="0" bIns="36000" anchor="ctr" anchorCtr="0">
            <a:spAutoFit/>
          </a:bodyPr>
          <a:lstStyle>
            <a:lvl1pPr marL="0" indent="0">
              <a:buNone/>
              <a:defRPr sz="1050"/>
            </a:lvl1pPr>
            <a:lvl2pPr marL="432000" indent="0">
              <a:buNone/>
              <a:defRPr sz="1050"/>
            </a:lvl2pPr>
            <a:lvl3pPr marL="684000" indent="0">
              <a:buNone/>
              <a:defRPr sz="1050"/>
            </a:lvl3pPr>
            <a:lvl4pPr marL="828000" indent="0">
              <a:buNone/>
              <a:defRPr sz="1050"/>
            </a:lvl4pPr>
            <a:lvl5pPr marL="959400" indent="0">
              <a:buNone/>
              <a:defRPr sz="1050"/>
            </a:lvl5pPr>
          </a:lstStyle>
          <a:p>
            <a:pPr lvl="0"/>
            <a:r>
              <a:rPr lang="en-US"/>
              <a:t>Click to add confidentiality statement her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8C86533-B59D-4640-AA9B-D75189B4B4CA}"/>
              </a:ext>
            </a:extLst>
          </p:cNvPr>
          <p:cNvSpPr/>
          <p:nvPr userDrawn="1"/>
        </p:nvSpPr>
        <p:spPr>
          <a:xfrm>
            <a:off x="-2087955" y="1"/>
            <a:ext cx="2064161" cy="6858000"/>
          </a:xfrm>
          <a:custGeom>
            <a:avLst/>
            <a:gdLst>
              <a:gd name="connsiteX0" fmla="*/ 0 w 2064161"/>
              <a:gd name="connsiteY0" fmla="*/ 0 h 6858000"/>
              <a:gd name="connsiteX1" fmla="*/ 2002971 w 2064161"/>
              <a:gd name="connsiteY1" fmla="*/ 0 h 6858000"/>
              <a:gd name="connsiteX2" fmla="*/ 2002971 w 2064161"/>
              <a:gd name="connsiteY2" fmla="*/ 6447122 h 6858000"/>
              <a:gd name="connsiteX3" fmla="*/ 2064161 w 2064161"/>
              <a:gd name="connsiteY3" fmla="*/ 6538118 h 6858000"/>
              <a:gd name="connsiteX4" fmla="*/ 2002971 w 2064161"/>
              <a:gd name="connsiteY4" fmla="*/ 6629114 h 6858000"/>
              <a:gd name="connsiteX5" fmla="*/ 2002971 w 2064161"/>
              <a:gd name="connsiteY5" fmla="*/ 6858000 h 6858000"/>
              <a:gd name="connsiteX6" fmla="*/ 0 w 206416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4161" h="6858000">
                <a:moveTo>
                  <a:pt x="0" y="0"/>
                </a:moveTo>
                <a:lnTo>
                  <a:pt x="2002971" y="0"/>
                </a:lnTo>
                <a:lnTo>
                  <a:pt x="2002971" y="6447122"/>
                </a:lnTo>
                <a:lnTo>
                  <a:pt x="2064161" y="6538118"/>
                </a:lnTo>
                <a:lnTo>
                  <a:pt x="2002971" y="6629114"/>
                </a:lnTo>
                <a:lnTo>
                  <a:pt x="200297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Ins="144000" bIns="216000" rtlCol="0" anchor="b" anchorCtr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Please ensure you have added the correct confidentiality statement. </a:t>
            </a:r>
          </a:p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Type the correct statement: </a:t>
            </a:r>
            <a:br>
              <a:rPr lang="en-GB" sz="1400">
                <a:solidFill>
                  <a:schemeClr val="accent1"/>
                </a:solidFill>
              </a:rPr>
            </a:br>
            <a:r>
              <a:rPr lang="en-GB" sz="1400">
                <a:solidFill>
                  <a:schemeClr val="accent1"/>
                </a:solidFill>
              </a:rPr>
              <a:t>‘</a:t>
            </a:r>
            <a:r>
              <a:rPr lang="en-GB" sz="1400" b="1" i="1">
                <a:solidFill>
                  <a:schemeClr val="accent1"/>
                </a:solidFill>
              </a:rPr>
              <a:t>Company Restricted’ </a:t>
            </a:r>
            <a:r>
              <a:rPr lang="en-GB" sz="1400" b="0">
                <a:solidFill>
                  <a:schemeClr val="tx1"/>
                </a:solidFill>
              </a:rPr>
              <a:t>or</a:t>
            </a:r>
            <a:r>
              <a:rPr lang="en-GB" sz="1400" b="1">
                <a:solidFill>
                  <a:schemeClr val="accent1"/>
                </a:solidFill>
              </a:rPr>
              <a:t> ‘</a:t>
            </a:r>
            <a:r>
              <a:rPr lang="en-GB" sz="1400" b="1" i="1">
                <a:solidFill>
                  <a:schemeClr val="accent1"/>
                </a:solidFill>
              </a:rPr>
              <a:t>Strictly Confidential’ </a:t>
            </a:r>
            <a:r>
              <a:rPr lang="en-GB" sz="1400" b="0" i="1">
                <a:solidFill>
                  <a:schemeClr val="tx1"/>
                </a:solidFill>
              </a:rPr>
              <a:t>.</a:t>
            </a:r>
            <a:r>
              <a:rPr lang="en-GB" sz="1400" b="1" i="1">
                <a:solidFill>
                  <a:schemeClr val="accent1"/>
                </a:solidFill>
              </a:rPr>
              <a:t> </a:t>
            </a:r>
            <a:r>
              <a:rPr lang="en-GB" sz="1400" b="0" i="0">
                <a:solidFill>
                  <a:schemeClr val="tx1"/>
                </a:solidFill>
              </a:rPr>
              <a:t>No statement is needed </a:t>
            </a:r>
            <a:br>
              <a:rPr lang="en-GB" sz="1400" b="0" i="0">
                <a:solidFill>
                  <a:schemeClr val="tx1"/>
                </a:solidFill>
              </a:rPr>
            </a:br>
            <a:r>
              <a:rPr lang="en-GB" sz="1400" b="0" i="0">
                <a:solidFill>
                  <a:schemeClr val="tx1"/>
                </a:solidFill>
              </a:rPr>
              <a:t>for public information. </a:t>
            </a:r>
            <a:endParaRPr lang="en-GB" sz="1400" b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F3181C7-2372-4ADB-A7E1-372907919D37}"/>
              </a:ext>
            </a:extLst>
          </p:cNvPr>
          <p:cNvSpPr/>
          <p:nvPr userDrawn="1"/>
        </p:nvSpPr>
        <p:spPr>
          <a:xfrm>
            <a:off x="-1944694" y="3878333"/>
            <a:ext cx="419968" cy="41996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</a:rPr>
              <a:t>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4878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EB1523F-CCFB-4B58-AB3F-DEC8A49B7F24}"/>
              </a:ext>
            </a:extLst>
          </p:cNvPr>
          <p:cNvSpPr/>
          <p:nvPr userDrawn="1"/>
        </p:nvSpPr>
        <p:spPr>
          <a:xfrm>
            <a:off x="9855200" y="4927601"/>
            <a:ext cx="2336800" cy="193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CDCC3B-CA12-4A4B-B5F5-D2062F3C5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2148952"/>
            <a:ext cx="4316676" cy="1986487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nter </a:t>
            </a:r>
            <a:br>
              <a:rPr lang="en-US"/>
            </a:br>
            <a:r>
              <a:rPr lang="en-US"/>
              <a:t>title here</a:t>
            </a:r>
          </a:p>
        </p:txBody>
      </p:sp>
      <p:pic>
        <p:nvPicPr>
          <p:cNvPr id="7" name="Picture 2" descr="Image result for ASTRAZENECA LOGO">
            <a:extLst>
              <a:ext uri="{FF2B5EF4-FFF2-40B4-BE49-F238E27FC236}">
                <a16:creationId xmlns:a16="http://schemas.microsoft.com/office/drawing/2014/main" id="{1ED72C3C-E918-420F-9374-6F1CBE3946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76" y="576767"/>
            <a:ext cx="2405987" cy="651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E5583-912E-4EA8-8EDC-7B6B86E762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988" y="4328932"/>
            <a:ext cx="4316412" cy="120376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/</a:t>
            </a:r>
            <a:br>
              <a:rPr lang="en-US"/>
            </a:br>
            <a:r>
              <a:rPr lang="en-US"/>
              <a:t>presenter na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231862-37A9-4364-9D96-47810B11870D}"/>
              </a:ext>
            </a:extLst>
          </p:cNvPr>
          <p:cNvSpPr/>
          <p:nvPr userDrawn="1"/>
        </p:nvSpPr>
        <p:spPr>
          <a:xfrm>
            <a:off x="342900" y="404813"/>
            <a:ext cx="2794000" cy="920488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6A1CD-3FD6-4AD3-876A-75F060E88A2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407987" y="5887668"/>
            <a:ext cx="1279358" cy="30914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32A73A7-F1E1-4085-B3F6-999828C7F54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922520" y="0"/>
            <a:ext cx="7269480" cy="6858000"/>
          </a:xfrm>
          <a:custGeom>
            <a:avLst/>
            <a:gdLst>
              <a:gd name="connsiteX0" fmla="*/ 2049352 w 7269480"/>
              <a:gd name="connsiteY0" fmla="*/ 0 h 6858000"/>
              <a:gd name="connsiteX1" fmla="*/ 3164301 w 7269480"/>
              <a:gd name="connsiteY1" fmla="*/ 0 h 6858000"/>
              <a:gd name="connsiteX2" fmla="*/ 5735747 w 7269480"/>
              <a:gd name="connsiteY2" fmla="*/ 0 h 6858000"/>
              <a:gd name="connsiteX3" fmla="*/ 5735748 w 7269480"/>
              <a:gd name="connsiteY3" fmla="*/ 0 h 6858000"/>
              <a:gd name="connsiteX4" fmla="*/ 5747970 w 7269480"/>
              <a:gd name="connsiteY4" fmla="*/ 6260 h 6858000"/>
              <a:gd name="connsiteX5" fmla="*/ 7120314 w 7269480"/>
              <a:gd name="connsiteY5" fmla="*/ 1252638 h 6858000"/>
              <a:gd name="connsiteX6" fmla="*/ 7269480 w 7269480"/>
              <a:gd name="connsiteY6" fmla="*/ 1498173 h 6858000"/>
              <a:gd name="connsiteX7" fmla="*/ 7269480 w 7269480"/>
              <a:gd name="connsiteY7" fmla="*/ 5359828 h 6858000"/>
              <a:gd name="connsiteX8" fmla="*/ 7120314 w 7269480"/>
              <a:gd name="connsiteY8" fmla="*/ 5605362 h 6858000"/>
              <a:gd name="connsiteX9" fmla="*/ 5747970 w 7269480"/>
              <a:gd name="connsiteY9" fmla="*/ 6851740 h 6858000"/>
              <a:gd name="connsiteX10" fmla="*/ 5735748 w 7269480"/>
              <a:gd name="connsiteY10" fmla="*/ 6858000 h 6858000"/>
              <a:gd name="connsiteX11" fmla="*/ 3163098 w 7269480"/>
              <a:gd name="connsiteY11" fmla="*/ 6858000 h 6858000"/>
              <a:gd name="connsiteX12" fmla="*/ 2049352 w 7269480"/>
              <a:gd name="connsiteY12" fmla="*/ 6858000 h 6858000"/>
              <a:gd name="connsiteX13" fmla="*/ 2037130 w 7269480"/>
              <a:gd name="connsiteY13" fmla="*/ 6851740 h 6858000"/>
              <a:gd name="connsiteX14" fmla="*/ 0 w 7269480"/>
              <a:gd name="connsiteY14" fmla="*/ 3429000 h 6858000"/>
              <a:gd name="connsiteX15" fmla="*/ 2037130 w 7269480"/>
              <a:gd name="connsiteY15" fmla="*/ 626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269480" h="6858000">
                <a:moveTo>
                  <a:pt x="2049352" y="0"/>
                </a:moveTo>
                <a:lnTo>
                  <a:pt x="3164301" y="0"/>
                </a:lnTo>
                <a:lnTo>
                  <a:pt x="5735747" y="0"/>
                </a:lnTo>
                <a:lnTo>
                  <a:pt x="5735748" y="0"/>
                </a:lnTo>
                <a:lnTo>
                  <a:pt x="5747970" y="6260"/>
                </a:lnTo>
                <a:cubicBezTo>
                  <a:pt x="6299519" y="305879"/>
                  <a:pt x="6770554" y="734926"/>
                  <a:pt x="7120314" y="1252638"/>
                </a:cubicBezTo>
                <a:lnTo>
                  <a:pt x="7269480" y="1498173"/>
                </a:lnTo>
                <a:lnTo>
                  <a:pt x="7269480" y="5359828"/>
                </a:lnTo>
                <a:lnTo>
                  <a:pt x="7120314" y="5605362"/>
                </a:lnTo>
                <a:cubicBezTo>
                  <a:pt x="6770554" y="6123075"/>
                  <a:pt x="6299519" y="6552122"/>
                  <a:pt x="5747970" y="6851740"/>
                </a:cubicBezTo>
                <a:lnTo>
                  <a:pt x="5735748" y="6858000"/>
                </a:lnTo>
                <a:lnTo>
                  <a:pt x="3163098" y="6858000"/>
                </a:lnTo>
                <a:lnTo>
                  <a:pt x="2049352" y="6858000"/>
                </a:lnTo>
                <a:lnTo>
                  <a:pt x="2037130" y="6851740"/>
                </a:lnTo>
                <a:cubicBezTo>
                  <a:pt x="823724" y="6192579"/>
                  <a:pt x="0" y="4906985"/>
                  <a:pt x="0" y="3429000"/>
                </a:cubicBezTo>
                <a:cubicBezTo>
                  <a:pt x="0" y="1951015"/>
                  <a:pt x="823724" y="665422"/>
                  <a:pt x="2037130" y="626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91440" tIns="432000" rIns="91440" bIns="648000" rtlCol="0" anchor="ctr">
            <a:noAutofit/>
          </a:bodyPr>
          <a:lstStyle>
            <a:lvl1pPr marL="0" indent="0" algn="ctr">
              <a:buNone/>
              <a:defRPr lang="en-US" sz="16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Your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EBB4F1-3A58-475F-9EBB-925156182B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7988" y="6429055"/>
            <a:ext cx="5184775" cy="218128"/>
          </a:xfrm>
        </p:spPr>
        <p:txBody>
          <a:bodyPr lIns="0" tIns="36000" rIns="0" bIns="36000" anchor="ctr" anchorCtr="0">
            <a:spAutoFit/>
          </a:bodyPr>
          <a:lstStyle>
            <a:lvl1pPr marL="0" indent="0">
              <a:buNone/>
              <a:defRPr sz="1050"/>
            </a:lvl1pPr>
            <a:lvl2pPr marL="432000" indent="0">
              <a:buNone/>
              <a:defRPr sz="1050"/>
            </a:lvl2pPr>
            <a:lvl3pPr marL="684000" indent="0">
              <a:buNone/>
              <a:defRPr sz="1050"/>
            </a:lvl3pPr>
            <a:lvl4pPr marL="828000" indent="0">
              <a:buNone/>
              <a:defRPr sz="1050"/>
            </a:lvl4pPr>
            <a:lvl5pPr marL="959400" indent="0">
              <a:buNone/>
              <a:defRPr sz="1050"/>
            </a:lvl5pPr>
          </a:lstStyle>
          <a:p>
            <a:pPr lvl="0"/>
            <a:r>
              <a:rPr lang="en-US"/>
              <a:t>Click to add confidentiality statement her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75B7FBB-299C-44B5-9400-EB5D056A8E38}"/>
              </a:ext>
            </a:extLst>
          </p:cNvPr>
          <p:cNvSpPr/>
          <p:nvPr userDrawn="1"/>
        </p:nvSpPr>
        <p:spPr>
          <a:xfrm>
            <a:off x="-2087955" y="1"/>
            <a:ext cx="2064161" cy="6858000"/>
          </a:xfrm>
          <a:custGeom>
            <a:avLst/>
            <a:gdLst>
              <a:gd name="connsiteX0" fmla="*/ 0 w 2064161"/>
              <a:gd name="connsiteY0" fmla="*/ 0 h 6858000"/>
              <a:gd name="connsiteX1" fmla="*/ 2002971 w 2064161"/>
              <a:gd name="connsiteY1" fmla="*/ 0 h 6858000"/>
              <a:gd name="connsiteX2" fmla="*/ 2002971 w 2064161"/>
              <a:gd name="connsiteY2" fmla="*/ 6447122 h 6858000"/>
              <a:gd name="connsiteX3" fmla="*/ 2064161 w 2064161"/>
              <a:gd name="connsiteY3" fmla="*/ 6538118 h 6858000"/>
              <a:gd name="connsiteX4" fmla="*/ 2002971 w 2064161"/>
              <a:gd name="connsiteY4" fmla="*/ 6629114 h 6858000"/>
              <a:gd name="connsiteX5" fmla="*/ 2002971 w 2064161"/>
              <a:gd name="connsiteY5" fmla="*/ 6858000 h 6858000"/>
              <a:gd name="connsiteX6" fmla="*/ 0 w 206416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4161" h="6858000">
                <a:moveTo>
                  <a:pt x="0" y="0"/>
                </a:moveTo>
                <a:lnTo>
                  <a:pt x="2002971" y="0"/>
                </a:lnTo>
                <a:lnTo>
                  <a:pt x="2002971" y="6447122"/>
                </a:lnTo>
                <a:lnTo>
                  <a:pt x="2064161" y="6538118"/>
                </a:lnTo>
                <a:lnTo>
                  <a:pt x="2002971" y="6629114"/>
                </a:lnTo>
                <a:lnTo>
                  <a:pt x="200297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Ins="144000" bIns="216000" rtlCol="0" anchor="b" anchorCtr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Please ensure you have added the correct confidentiality statement. </a:t>
            </a:r>
          </a:p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Type the correct statement: </a:t>
            </a:r>
            <a:br>
              <a:rPr lang="en-GB" sz="1400">
                <a:solidFill>
                  <a:schemeClr val="accent1"/>
                </a:solidFill>
              </a:rPr>
            </a:br>
            <a:r>
              <a:rPr lang="en-GB" sz="1400">
                <a:solidFill>
                  <a:schemeClr val="accent1"/>
                </a:solidFill>
              </a:rPr>
              <a:t>‘</a:t>
            </a:r>
            <a:r>
              <a:rPr lang="en-GB" sz="1400" b="1" i="1">
                <a:solidFill>
                  <a:schemeClr val="accent1"/>
                </a:solidFill>
              </a:rPr>
              <a:t>Company Restricted’ </a:t>
            </a:r>
            <a:r>
              <a:rPr lang="en-GB" sz="1400" b="0">
                <a:solidFill>
                  <a:schemeClr val="tx1"/>
                </a:solidFill>
              </a:rPr>
              <a:t>or</a:t>
            </a:r>
            <a:r>
              <a:rPr lang="en-GB" sz="1400" b="1">
                <a:solidFill>
                  <a:schemeClr val="accent1"/>
                </a:solidFill>
              </a:rPr>
              <a:t> ‘</a:t>
            </a:r>
            <a:r>
              <a:rPr lang="en-GB" sz="1400" b="1" i="1">
                <a:solidFill>
                  <a:schemeClr val="accent1"/>
                </a:solidFill>
              </a:rPr>
              <a:t>Strictly Confidential’ </a:t>
            </a:r>
            <a:r>
              <a:rPr lang="en-GB" sz="1400" b="0" i="1">
                <a:solidFill>
                  <a:schemeClr val="tx1"/>
                </a:solidFill>
              </a:rPr>
              <a:t>.</a:t>
            </a:r>
            <a:r>
              <a:rPr lang="en-GB" sz="1400" b="1" i="1">
                <a:solidFill>
                  <a:schemeClr val="accent1"/>
                </a:solidFill>
              </a:rPr>
              <a:t> </a:t>
            </a:r>
            <a:r>
              <a:rPr lang="en-GB" sz="1400" b="0" i="0">
                <a:solidFill>
                  <a:schemeClr val="tx1"/>
                </a:solidFill>
              </a:rPr>
              <a:t>No statement is needed </a:t>
            </a:r>
            <a:br>
              <a:rPr lang="en-GB" sz="1400" b="0" i="0">
                <a:solidFill>
                  <a:schemeClr val="tx1"/>
                </a:solidFill>
              </a:rPr>
            </a:br>
            <a:r>
              <a:rPr lang="en-GB" sz="1400" b="0" i="0">
                <a:solidFill>
                  <a:schemeClr val="tx1"/>
                </a:solidFill>
              </a:rPr>
              <a:t>for public information. </a:t>
            </a:r>
            <a:endParaRPr lang="en-GB" sz="1400" b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D5B82E-36BE-4555-8CA2-58A989EDD594}"/>
              </a:ext>
            </a:extLst>
          </p:cNvPr>
          <p:cNvSpPr/>
          <p:nvPr userDrawn="1"/>
        </p:nvSpPr>
        <p:spPr>
          <a:xfrm>
            <a:off x="-1944694" y="3878333"/>
            <a:ext cx="419968" cy="41996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</a:rPr>
              <a:t>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9368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071349"/>
            <a:ext cx="3049588" cy="1107996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r>
              <a:rPr lang="en-US"/>
              <a:t>Click to enter title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>
            <a:cxnSpLocks/>
          </p:cNvCxnSpPr>
          <p:nvPr userDrawn="1"/>
        </p:nvCxnSpPr>
        <p:spPr>
          <a:xfrm>
            <a:off x="3540125" y="1071349"/>
            <a:ext cx="0" cy="499562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552EAD-E21A-4A83-A364-65FFC805340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92438" y="1071563"/>
            <a:ext cx="8091576" cy="4995409"/>
          </a:xfr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</a:t>
            </a:r>
            <a:br>
              <a:rPr lang="en-US" dirty="0"/>
            </a:br>
            <a:r>
              <a:rPr lang="en-US" dirty="0"/>
              <a:t>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86DE4FB-795F-484C-AD8A-2137F4F3290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9CD50C-194B-4C94-B913-6C65799351C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04BC3F-3250-41AA-B3F3-B5D6A729D26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7805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 userDrawn="1">
          <p15:clr>
            <a:srgbClr val="C35EA4"/>
          </p15:clr>
        </p15:guide>
        <p15:guide id="2" pos="3976" userDrawn="1">
          <p15:clr>
            <a:srgbClr val="A4A3A4"/>
          </p15:clr>
        </p15:guide>
        <p15:guide id="3" pos="4838" userDrawn="1">
          <p15:clr>
            <a:srgbClr val="A4A3A4"/>
          </p15:clr>
        </p15:guide>
        <p15:guide id="4" pos="5700" userDrawn="1">
          <p15:clr>
            <a:srgbClr val="A4A3A4"/>
          </p15:clr>
        </p15:guide>
        <p15:guide id="5" pos="3114" userDrawn="1">
          <p15:clr>
            <a:srgbClr val="A4A3A4"/>
          </p15:clr>
        </p15:guide>
        <p15:guide id="6" pos="6562" userDrawn="1">
          <p15:clr>
            <a:srgbClr val="A4A3A4"/>
          </p15:clr>
        </p15:guide>
        <p15:guide id="7" pos="3228" userDrawn="1">
          <p15:clr>
            <a:srgbClr val="A4A3A4"/>
          </p15:clr>
        </p15:guide>
        <p15:guide id="8" pos="4089" userDrawn="1">
          <p15:clr>
            <a:srgbClr val="A4A3A4"/>
          </p15:clr>
        </p15:guide>
        <p15:guide id="9" pos="4951" userDrawn="1">
          <p15:clr>
            <a:srgbClr val="A4A3A4"/>
          </p15:clr>
        </p15:guide>
        <p15:guide id="10" pos="5813" userDrawn="1">
          <p15:clr>
            <a:srgbClr val="A4A3A4"/>
          </p15:clr>
        </p15:guide>
        <p15:guide id="11" pos="6698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8AB9BA-443A-4985-908B-268C192E8231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741714"/>
            <a:ext cx="0" cy="425903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9CD076-13C6-4629-A44D-60CE2274E0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2082157"/>
            <a:ext cx="5357809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14A51F37-EAE8-4722-A437-30D09A72A9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8264" y="2082157"/>
            <a:ext cx="5357809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A40151-B82D-47EF-9056-B4BE571D309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570163"/>
            <a:ext cx="5365746" cy="27145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56C5F394-5808-40FF-B6FD-65F71690691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410327" y="2570163"/>
            <a:ext cx="5365746" cy="27145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A24A62-EC53-4EC3-A57F-B48D78D6753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51ABB0-3DDF-400C-B65F-9AEC1D3B4EA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9DE8D6-BF8D-46B6-A107-F9199421CE2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9667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19956E11-763A-4F4F-BE8D-F54AD7FA82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2082157"/>
            <a:ext cx="3478214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C77F8B9-2C15-4C39-88A9-237E5111C7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6894" y="2082157"/>
            <a:ext cx="3478209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7CF160-5C4E-407B-B735-59D13651A274}"/>
              </a:ext>
            </a:extLst>
          </p:cNvPr>
          <p:cNvCxnSpPr>
            <a:cxnSpLocks/>
          </p:cNvCxnSpPr>
          <p:nvPr userDrawn="1"/>
        </p:nvCxnSpPr>
        <p:spPr>
          <a:xfrm>
            <a:off x="8070452" y="1741714"/>
            <a:ext cx="0" cy="425903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EB1C943-AAB4-428F-82CC-F8C2B2B4D473}"/>
              </a:ext>
            </a:extLst>
          </p:cNvPr>
          <p:cNvCxnSpPr>
            <a:cxnSpLocks/>
          </p:cNvCxnSpPr>
          <p:nvPr userDrawn="1"/>
        </p:nvCxnSpPr>
        <p:spPr>
          <a:xfrm>
            <a:off x="4121547" y="1741714"/>
            <a:ext cx="0" cy="425903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7AC19A9B-DC96-403B-8FAC-F86BA44A44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05804" y="2082157"/>
            <a:ext cx="3478209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3959B661-E0AC-460F-8B80-1D7A0DE584D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305801" y="2570163"/>
            <a:ext cx="3470271" cy="343058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0F231B6-1649-4FC7-9870-6F8BBC76458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356894" y="2570163"/>
            <a:ext cx="3470271" cy="343058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D9E6E49B-9844-4F9B-9E49-C493B4AAE6D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07988" y="2570163"/>
            <a:ext cx="3470271" cy="343058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8E425D-B0EA-4F9B-8823-01CD207A02F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0481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CD6865AD-FAE7-4D29-BA9D-6F84988F2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1741714"/>
            <a:ext cx="2666988" cy="76517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447BFFE-69CE-4ECE-9B6F-61523054D3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5859" y="1741714"/>
            <a:ext cx="2666688" cy="76517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F5C43A4-8774-4438-9233-E49FC09DBDB6}"/>
              </a:ext>
            </a:extLst>
          </p:cNvPr>
          <p:cNvCxnSpPr>
            <a:cxnSpLocks/>
          </p:cNvCxnSpPr>
          <p:nvPr userDrawn="1"/>
        </p:nvCxnSpPr>
        <p:spPr>
          <a:xfrm>
            <a:off x="8970060" y="1741714"/>
            <a:ext cx="0" cy="425902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919CBDC-034E-458B-8FAA-1060F7BC41A5}"/>
              </a:ext>
            </a:extLst>
          </p:cNvPr>
          <p:cNvCxnSpPr>
            <a:cxnSpLocks/>
          </p:cNvCxnSpPr>
          <p:nvPr userDrawn="1"/>
        </p:nvCxnSpPr>
        <p:spPr>
          <a:xfrm>
            <a:off x="6096156" y="1741714"/>
            <a:ext cx="0" cy="425902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704291C-72FB-4FF1-B696-54B5804AA9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17323" y="1741714"/>
            <a:ext cx="2666688" cy="76517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0B3383-EABF-4876-82D6-679E552131AE}"/>
              </a:ext>
            </a:extLst>
          </p:cNvPr>
          <p:cNvCxnSpPr>
            <a:cxnSpLocks/>
          </p:cNvCxnSpPr>
          <p:nvPr userDrawn="1"/>
        </p:nvCxnSpPr>
        <p:spPr>
          <a:xfrm>
            <a:off x="3222250" y="1741714"/>
            <a:ext cx="0" cy="425902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39EB54EE-D672-4BF9-B246-E7FC63A16E3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99764" y="1741714"/>
            <a:ext cx="2666688" cy="76517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CAA6C257-21B3-42F9-9CDC-379893D8791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117323" y="2570163"/>
            <a:ext cx="2658750" cy="241912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C1D47100-1DDC-4CCD-A811-4F3C4BE1961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99764" y="2570163"/>
            <a:ext cx="2658750" cy="241912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7A10635F-2235-43FE-96F6-697DC6137A7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325859" y="2570163"/>
            <a:ext cx="2658750" cy="241912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419A896C-E158-44C3-B934-DDA0D514A50C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07988" y="2570163"/>
            <a:ext cx="2658750" cy="241912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288000" indent="0">
              <a:buNone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add content. When pasting copy from other slides, be sure to right-click and choose ‘Keep text only’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C62BD8-FE43-4C12-9271-F1D2746B082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7260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8AB9BA-443A-4985-908B-268C192E8231}"/>
              </a:ext>
            </a:extLst>
          </p:cNvPr>
          <p:cNvCxnSpPr>
            <a:cxnSpLocks/>
          </p:cNvCxnSpPr>
          <p:nvPr userDrawn="1"/>
        </p:nvCxnSpPr>
        <p:spPr>
          <a:xfrm>
            <a:off x="8001000" y="1741714"/>
            <a:ext cx="0" cy="42665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9CD076-13C6-4629-A44D-60CE2274E0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6" y="2082157"/>
            <a:ext cx="7440613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14A51F37-EAE8-4722-A437-30D09A72A9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91499" y="2082157"/>
            <a:ext cx="3584573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358968C-3784-44E4-B50E-21ED78D9EB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91499" y="2570390"/>
            <a:ext cx="3584573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ext. 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F450BB10-EDA8-4244-8CBF-7F1645357D5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7985" y="2570163"/>
            <a:ext cx="7440603" cy="238219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E4F4DDF-A4CE-45BB-8E5D-A5AB679089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77585" y="3995870"/>
            <a:ext cx="2012400" cy="2012400"/>
          </a:xfrm>
          <a:custGeom>
            <a:avLst/>
            <a:gdLst>
              <a:gd name="connsiteX0" fmla="*/ 1006200 w 2012400"/>
              <a:gd name="connsiteY0" fmla="*/ 0 h 2012400"/>
              <a:gd name="connsiteX1" fmla="*/ 2012400 w 2012400"/>
              <a:gd name="connsiteY1" fmla="*/ 1006200 h 2012400"/>
              <a:gd name="connsiteX2" fmla="*/ 1006200 w 2012400"/>
              <a:gd name="connsiteY2" fmla="*/ 2012400 h 2012400"/>
              <a:gd name="connsiteX3" fmla="*/ 0 w 2012400"/>
              <a:gd name="connsiteY3" fmla="*/ 1006200 h 2012400"/>
              <a:gd name="connsiteX4" fmla="*/ 1006200 w 2012400"/>
              <a:gd name="connsiteY4" fmla="*/ 0 h 201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2400" h="2012400">
                <a:moveTo>
                  <a:pt x="1006200" y="0"/>
                </a:moveTo>
                <a:cubicBezTo>
                  <a:pt x="1561909" y="0"/>
                  <a:pt x="2012400" y="450491"/>
                  <a:pt x="2012400" y="1006200"/>
                </a:cubicBezTo>
                <a:cubicBezTo>
                  <a:pt x="2012400" y="1561909"/>
                  <a:pt x="1561909" y="2012400"/>
                  <a:pt x="1006200" y="2012400"/>
                </a:cubicBezTo>
                <a:cubicBezTo>
                  <a:pt x="450491" y="2012400"/>
                  <a:pt x="0" y="1561909"/>
                  <a:pt x="0" y="1006200"/>
                </a:cubicBezTo>
                <a:cubicBezTo>
                  <a:pt x="0" y="450491"/>
                  <a:pt x="450491" y="0"/>
                  <a:pt x="10062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rm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callout or key fig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984B42-6696-4BE7-BCB8-D9A0F7359D2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634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0" userDrawn="1">
          <p15:clr>
            <a:srgbClr val="A4A3A4"/>
          </p15:clr>
        </p15:guide>
        <p15:guide id="10" pos="628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9CD076-13C6-4629-A44D-60CE2274E0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5459" y="2082157"/>
            <a:ext cx="7440613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04812"/>
            <a:ext cx="11376025" cy="10074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8AB9BA-443A-4985-908B-268C192E8231}"/>
              </a:ext>
            </a:extLst>
          </p:cNvPr>
          <p:cNvCxnSpPr>
            <a:cxnSpLocks/>
          </p:cNvCxnSpPr>
          <p:nvPr userDrawn="1"/>
        </p:nvCxnSpPr>
        <p:spPr>
          <a:xfrm>
            <a:off x="4133850" y="1741714"/>
            <a:ext cx="0" cy="425903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8D4EF0D-A9CE-4E45-B1B3-BB585A7CD1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570390"/>
            <a:ext cx="3584573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ext.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14A51F37-EAE8-4722-A437-30D09A72A9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082157"/>
            <a:ext cx="3584573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9D64AEF-AC5B-4ACA-95B3-7DD2AC9A970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35469" y="2570163"/>
            <a:ext cx="7440603" cy="238219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389EFA-BE5F-4B72-ACD5-3C00675849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4073" y="3995870"/>
            <a:ext cx="2012400" cy="2012400"/>
          </a:xfrm>
          <a:custGeom>
            <a:avLst/>
            <a:gdLst>
              <a:gd name="connsiteX0" fmla="*/ 1006200 w 2012400"/>
              <a:gd name="connsiteY0" fmla="*/ 0 h 2012400"/>
              <a:gd name="connsiteX1" fmla="*/ 2012400 w 2012400"/>
              <a:gd name="connsiteY1" fmla="*/ 1006200 h 2012400"/>
              <a:gd name="connsiteX2" fmla="*/ 1006200 w 2012400"/>
              <a:gd name="connsiteY2" fmla="*/ 2012400 h 2012400"/>
              <a:gd name="connsiteX3" fmla="*/ 0 w 2012400"/>
              <a:gd name="connsiteY3" fmla="*/ 1006200 h 2012400"/>
              <a:gd name="connsiteX4" fmla="*/ 1006200 w 2012400"/>
              <a:gd name="connsiteY4" fmla="*/ 0 h 201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2400" h="2012400">
                <a:moveTo>
                  <a:pt x="1006200" y="0"/>
                </a:moveTo>
                <a:cubicBezTo>
                  <a:pt x="1561909" y="0"/>
                  <a:pt x="2012400" y="450491"/>
                  <a:pt x="2012400" y="1006200"/>
                </a:cubicBezTo>
                <a:cubicBezTo>
                  <a:pt x="2012400" y="1561909"/>
                  <a:pt x="1561909" y="2012400"/>
                  <a:pt x="1006200" y="2012400"/>
                </a:cubicBezTo>
                <a:cubicBezTo>
                  <a:pt x="450491" y="2012400"/>
                  <a:pt x="0" y="1561909"/>
                  <a:pt x="0" y="1006200"/>
                </a:cubicBezTo>
                <a:cubicBezTo>
                  <a:pt x="0" y="450491"/>
                  <a:pt x="450491" y="0"/>
                  <a:pt x="100620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rm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callout or key fig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306941-F92D-45E6-B9AB-A362D7B658B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0855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Head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2559050"/>
            <a:ext cx="11376026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CAD35DC-4ECF-4C00-A17E-91E107628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738" y="1741713"/>
            <a:ext cx="11376026" cy="81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013136D-000F-468E-82F7-78627545D64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190D928-50E6-43BB-B7DC-C9B51BD8EB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2F3963-DA4D-4494-BBE3-B9E276AB4C0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6677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E4B5EC-9E53-45C3-B765-C1C483A070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8" y="1567815"/>
            <a:ext cx="11376024" cy="4608000"/>
          </a:xfrm>
        </p:spPr>
        <p:txBody>
          <a:bodyPr>
            <a:spAutoFit/>
          </a:bodyPr>
          <a:lstStyle>
            <a:lvl1pPr>
              <a:defRPr/>
            </a:lvl1pPr>
            <a:lvl2pPr marL="576000" indent="-288000">
              <a:defRPr/>
            </a:lvl2pPr>
          </a:lstStyle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02CC1A-50FF-4A50-8660-D325E3429D9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91A526-0136-428A-A69D-DDE4CDAC17A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938F29-84D5-4449-9358-343332B4BEF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3713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 userDrawn="1">
          <p15:clr>
            <a:srgbClr val="A4A3A4"/>
          </p15:clr>
        </p15:guide>
        <p15:guide id="2" pos="1463" userDrawn="1">
          <p15:clr>
            <a:srgbClr val="A4A3A4"/>
          </p15:clr>
        </p15:guide>
        <p15:guide id="3" pos="2598" userDrawn="1">
          <p15:clr>
            <a:srgbClr val="A4A3A4"/>
          </p15:clr>
        </p15:guide>
        <p15:guide id="4" pos="2669" userDrawn="1">
          <p15:clr>
            <a:srgbClr val="A4A3A4"/>
          </p15:clr>
        </p15:guide>
        <p15:guide id="5" pos="3804" userDrawn="1">
          <p15:clr>
            <a:srgbClr val="A4A3A4"/>
          </p15:clr>
        </p15:guide>
        <p15:guide id="6" pos="3876" userDrawn="1">
          <p15:clr>
            <a:srgbClr val="A4A3A4"/>
          </p15:clr>
        </p15:guide>
        <p15:guide id="7" pos="5009" userDrawn="1">
          <p15:clr>
            <a:srgbClr val="A4A3A4"/>
          </p15:clr>
        </p15:guide>
        <p15:guide id="8" pos="5082" userDrawn="1">
          <p15:clr>
            <a:srgbClr val="A4A3A4"/>
          </p15:clr>
        </p15:guide>
        <p15:guide id="9" pos="6215" userDrawn="1">
          <p15:clr>
            <a:srgbClr val="A4A3A4"/>
          </p15:clr>
        </p15:guide>
        <p15:guide id="10" pos="6288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ead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2559050"/>
            <a:ext cx="5602133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D3461D-2D14-40AF-A11E-E32A29AD5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2FB9-7D18-4174-9B0A-336A77C9A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CAD35DC-4ECF-4C00-A17E-91E107628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738" y="1741713"/>
            <a:ext cx="5602133" cy="81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10B4C999-11DB-49A6-8AB3-B2F9DC1BC1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1880" y="2559050"/>
            <a:ext cx="5692619" cy="2876550"/>
          </a:xfrm>
          <a:noFill/>
          <a:ln>
            <a:solidFill>
              <a:schemeClr val="tx2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536223E-63F7-4E44-BC93-B6626BCFEB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2631" y="1741713"/>
            <a:ext cx="5692619" cy="81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F217A2-E9FD-4866-A68D-75C4CA7F012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42202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Head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2559050"/>
            <a:ext cx="3715299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CAD35DC-4ECF-4C00-A17E-91E107628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738" y="1741713"/>
            <a:ext cx="3715299" cy="81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10B4C999-11DB-49A6-8AB3-B2F9DC1BC1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7971" y="2559050"/>
            <a:ext cx="3716054" cy="2876550"/>
          </a:xfrm>
          <a:noFill/>
          <a:ln>
            <a:solidFill>
              <a:schemeClr val="tx2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536223E-63F7-4E44-BC93-B6626BCFEB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8722" y="1741713"/>
            <a:ext cx="3716054" cy="81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8A0AAAB-DFCF-4F8D-90DA-DBD0201339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7958" y="2559050"/>
            <a:ext cx="3716054" cy="2876550"/>
          </a:xfrm>
          <a:noFill/>
          <a:ln>
            <a:solidFill>
              <a:schemeClr val="accent6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89FFBF6-0D3D-4034-B412-EABCE72280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8709" y="1741713"/>
            <a:ext cx="3716054" cy="817200"/>
          </a:xfr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004B821-BCFE-4694-8F07-82AA247F72F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52D2D6-A1B7-454C-9B93-1007361B345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9911E2-3D79-4D57-A4A5-99B310315A3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32696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Head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2559050"/>
            <a:ext cx="2779712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CAD35DC-4ECF-4C00-A17E-91E107628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739" y="1741713"/>
            <a:ext cx="2779712" cy="81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10B4C999-11DB-49A6-8AB3-B2F9DC1BC1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2925" y="2559050"/>
            <a:ext cx="2779712" cy="2876550"/>
          </a:xfrm>
          <a:noFill/>
          <a:ln>
            <a:solidFill>
              <a:schemeClr val="tx2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536223E-63F7-4E44-BC93-B6626BCFEB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73676" y="1741713"/>
            <a:ext cx="2779712" cy="81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8A0AAAB-DFCF-4F8D-90DA-DBD0201339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7862" y="2559050"/>
            <a:ext cx="2779712" cy="2876550"/>
          </a:xfrm>
          <a:noFill/>
          <a:ln>
            <a:solidFill>
              <a:schemeClr val="accent6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89FFBF6-0D3D-4034-B412-EABCE72280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8613" y="1741713"/>
            <a:ext cx="2779712" cy="817200"/>
          </a:xfr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07483DBB-6AB3-44E8-B476-D691A6DD77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02798" y="2559050"/>
            <a:ext cx="2779712" cy="2876550"/>
          </a:xfrm>
          <a:noFill/>
          <a:ln>
            <a:solidFill>
              <a:schemeClr val="accent5"/>
            </a:solidFill>
          </a:ln>
        </p:spPr>
        <p:txBody>
          <a:bodyPr lIns="180000" tIns="180000" rIns="180000" bIns="180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794F06B4-05CB-4425-B43C-90CDB77D4D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03549" y="1741713"/>
            <a:ext cx="2779712" cy="817200"/>
          </a:xfr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180000" rIns="180000" anchor="ctr" anchorCtr="0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FDF1C59-75D3-4D44-AA6A-CE846344781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F4C3A70-956D-4C77-A8B0-9770936B997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7ABD0A-0B79-498A-8135-71083AB527F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28492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30359477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in L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91AE185-7FED-44AB-A9D9-33D6BC5FBB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1" y="1"/>
            <a:ext cx="6096001" cy="5693399"/>
          </a:xfrm>
          <a:custGeom>
            <a:avLst/>
            <a:gdLst>
              <a:gd name="connsiteX0" fmla="*/ 613929 w 6096001"/>
              <a:gd name="connsiteY0" fmla="*/ 0 h 5693399"/>
              <a:gd name="connsiteX1" fmla="*/ 6096001 w 6096001"/>
              <a:gd name="connsiteY1" fmla="*/ 0 h 5693399"/>
              <a:gd name="connsiteX2" fmla="*/ 6096001 w 6096001"/>
              <a:gd name="connsiteY2" fmla="*/ 4764882 h 5693399"/>
              <a:gd name="connsiteX3" fmla="*/ 5995011 w 6096001"/>
              <a:gd name="connsiteY3" fmla="*/ 4856669 h 5693399"/>
              <a:gd name="connsiteX4" fmla="*/ 3664224 w 6096001"/>
              <a:gd name="connsiteY4" fmla="*/ 5693399 h 5693399"/>
              <a:gd name="connsiteX5" fmla="*/ 0 w 6096001"/>
              <a:gd name="connsiteY5" fmla="*/ 2029175 h 5693399"/>
              <a:gd name="connsiteX6" fmla="*/ 442252 w 6096001"/>
              <a:gd name="connsiteY6" fmla="*/ 282588 h 5693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1" h="5693399">
                <a:moveTo>
                  <a:pt x="613929" y="0"/>
                </a:moveTo>
                <a:lnTo>
                  <a:pt x="6096001" y="0"/>
                </a:lnTo>
                <a:lnTo>
                  <a:pt x="6096001" y="4764882"/>
                </a:lnTo>
                <a:lnTo>
                  <a:pt x="5995011" y="4856669"/>
                </a:lnTo>
                <a:cubicBezTo>
                  <a:pt x="5361617" y="5379392"/>
                  <a:pt x="4549591" y="5693399"/>
                  <a:pt x="3664224" y="5693399"/>
                </a:cubicBezTo>
                <a:cubicBezTo>
                  <a:pt x="1640529" y="5693399"/>
                  <a:pt x="0" y="4052870"/>
                  <a:pt x="0" y="2029175"/>
                </a:cubicBezTo>
                <a:cubicBezTo>
                  <a:pt x="0" y="1396770"/>
                  <a:pt x="160208" y="801784"/>
                  <a:pt x="442252" y="282588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432000" rIns="252000" bIns="64800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Your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2"/>
            <a:ext cx="5365746" cy="1007427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9CD076-13C6-4629-A44D-60CE2274E0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741714"/>
            <a:ext cx="5357809" cy="765175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A40151-B82D-47EF-9056-B4BE571D309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570163"/>
            <a:ext cx="5365746" cy="343810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630900" indent="-342900"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CB4F7F-5BCC-4F74-8C6F-E94788219ED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0398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63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and Image in L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771757"/>
            <a:ext cx="5630862" cy="4985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0F231B6-1649-4FC7-9870-6F8BBC76458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53150" y="3688079"/>
            <a:ext cx="5630863" cy="234124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D9E6E49B-9844-4F9B-9E49-C493B4AAE6D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07988" y="3688079"/>
            <a:ext cx="5630862" cy="234124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88EB634-77D7-4CDB-AE88-62FA9FC51B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73240" y="1"/>
            <a:ext cx="5318760" cy="3552079"/>
          </a:xfrm>
          <a:custGeom>
            <a:avLst/>
            <a:gdLst>
              <a:gd name="connsiteX0" fmla="*/ 20727 w 5318760"/>
              <a:gd name="connsiteY0" fmla="*/ 0 h 3552079"/>
              <a:gd name="connsiteX1" fmla="*/ 5318760 w 5318760"/>
              <a:gd name="connsiteY1" fmla="*/ 0 h 3552079"/>
              <a:gd name="connsiteX2" fmla="*/ 5318760 w 5318760"/>
              <a:gd name="connsiteY2" fmla="*/ 2741950 h 3552079"/>
              <a:gd name="connsiteX3" fmla="*/ 5230648 w 5318760"/>
              <a:gd name="connsiteY3" fmla="*/ 2822032 h 3552079"/>
              <a:gd name="connsiteX4" fmla="*/ 3197036 w 5318760"/>
              <a:gd name="connsiteY4" fmla="*/ 3552079 h 3552079"/>
              <a:gd name="connsiteX5" fmla="*/ 0 w 5318760"/>
              <a:gd name="connsiteY5" fmla="*/ 355043 h 3552079"/>
              <a:gd name="connsiteX6" fmla="*/ 6487 w 5318760"/>
              <a:gd name="connsiteY6" fmla="*/ 149723 h 3552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8760" h="3552079">
                <a:moveTo>
                  <a:pt x="20727" y="0"/>
                </a:moveTo>
                <a:lnTo>
                  <a:pt x="5318760" y="0"/>
                </a:lnTo>
                <a:lnTo>
                  <a:pt x="5318760" y="2741950"/>
                </a:lnTo>
                <a:lnTo>
                  <a:pt x="5230648" y="2822032"/>
                </a:lnTo>
                <a:cubicBezTo>
                  <a:pt x="4678012" y="3278108"/>
                  <a:pt x="3969519" y="3552079"/>
                  <a:pt x="3197036" y="3552079"/>
                </a:cubicBezTo>
                <a:cubicBezTo>
                  <a:pt x="1431362" y="3552079"/>
                  <a:pt x="0" y="2120717"/>
                  <a:pt x="0" y="355043"/>
                </a:cubicBezTo>
                <a:cubicBezTo>
                  <a:pt x="0" y="286071"/>
                  <a:pt x="2184" y="217610"/>
                  <a:pt x="6487" y="149723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0" rIns="252000" bIns="18000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Your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C0734-AFB6-40D8-B273-EE907299F37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3158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and Image in L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C0734-AFB6-40D8-B273-EE907299F37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771757"/>
            <a:ext cx="5630862" cy="4985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3959B661-E0AC-460F-8B80-1D7A0DE584D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067675" y="3688079"/>
            <a:ext cx="3708397" cy="234124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0F231B6-1649-4FC7-9870-6F8BBC76458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37038" y="3688079"/>
            <a:ext cx="3714750" cy="234124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D9E6E49B-9844-4F9B-9E49-C493B4AAE6D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07988" y="3688079"/>
            <a:ext cx="3716337" cy="234124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88EB634-77D7-4CDB-AE88-62FA9FC51B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73240" y="1"/>
            <a:ext cx="5318760" cy="3552079"/>
          </a:xfrm>
          <a:custGeom>
            <a:avLst/>
            <a:gdLst>
              <a:gd name="connsiteX0" fmla="*/ 20727 w 5318760"/>
              <a:gd name="connsiteY0" fmla="*/ 0 h 3552079"/>
              <a:gd name="connsiteX1" fmla="*/ 5318760 w 5318760"/>
              <a:gd name="connsiteY1" fmla="*/ 0 h 3552079"/>
              <a:gd name="connsiteX2" fmla="*/ 5318760 w 5318760"/>
              <a:gd name="connsiteY2" fmla="*/ 2741950 h 3552079"/>
              <a:gd name="connsiteX3" fmla="*/ 5230648 w 5318760"/>
              <a:gd name="connsiteY3" fmla="*/ 2822032 h 3552079"/>
              <a:gd name="connsiteX4" fmla="*/ 3197036 w 5318760"/>
              <a:gd name="connsiteY4" fmla="*/ 3552079 h 3552079"/>
              <a:gd name="connsiteX5" fmla="*/ 0 w 5318760"/>
              <a:gd name="connsiteY5" fmla="*/ 355043 h 3552079"/>
              <a:gd name="connsiteX6" fmla="*/ 6487 w 5318760"/>
              <a:gd name="connsiteY6" fmla="*/ 149723 h 3552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8760" h="3552079">
                <a:moveTo>
                  <a:pt x="20727" y="0"/>
                </a:moveTo>
                <a:lnTo>
                  <a:pt x="5318760" y="0"/>
                </a:lnTo>
                <a:lnTo>
                  <a:pt x="5318760" y="2741950"/>
                </a:lnTo>
                <a:lnTo>
                  <a:pt x="5230648" y="2822032"/>
                </a:lnTo>
                <a:cubicBezTo>
                  <a:pt x="4678012" y="3278108"/>
                  <a:pt x="3969519" y="3552079"/>
                  <a:pt x="3197036" y="3552079"/>
                </a:cubicBezTo>
                <a:cubicBezTo>
                  <a:pt x="1431362" y="3552079"/>
                  <a:pt x="0" y="2120717"/>
                  <a:pt x="0" y="355043"/>
                </a:cubicBezTo>
                <a:cubicBezTo>
                  <a:pt x="0" y="286071"/>
                  <a:pt x="2184" y="217610"/>
                  <a:pt x="6487" y="149723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0" rIns="252000" bIns="18000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Your image can then be scaled within </a:t>
            </a:r>
            <a:br>
              <a:rPr lang="en-US" dirty="0"/>
            </a:br>
            <a:r>
              <a:rPr lang="en-US" dirty="0"/>
              <a:t>the frame 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0155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1878CEE-058E-4CA0-A804-58BE7BD4CE9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4622041" cy="6858000"/>
          </a:xfrm>
          <a:custGeom>
            <a:avLst/>
            <a:gdLst>
              <a:gd name="connsiteX0" fmla="*/ 0 w 4622041"/>
              <a:gd name="connsiteY0" fmla="*/ 0 h 6858000"/>
              <a:gd name="connsiteX1" fmla="*/ 1524909 w 4622041"/>
              <a:gd name="connsiteY1" fmla="*/ 0 h 6858000"/>
              <a:gd name="connsiteX2" fmla="*/ 3181350 w 4622041"/>
              <a:gd name="connsiteY2" fmla="*/ 0 h 6858000"/>
              <a:gd name="connsiteX3" fmla="*/ 3848100 w 4622041"/>
              <a:gd name="connsiteY3" fmla="*/ 0 h 6858000"/>
              <a:gd name="connsiteX4" fmla="*/ 4203480 w 4622041"/>
              <a:gd name="connsiteY4" fmla="*/ 0 h 6858000"/>
              <a:gd name="connsiteX5" fmla="*/ 4622041 w 4622041"/>
              <a:gd name="connsiteY5" fmla="*/ 0 h 6858000"/>
              <a:gd name="connsiteX6" fmla="*/ 4491391 w 4622041"/>
              <a:gd name="connsiteY6" fmla="*/ 203795 h 6858000"/>
              <a:gd name="connsiteX7" fmla="*/ 3590925 w 4622041"/>
              <a:gd name="connsiteY7" fmla="*/ 3429000 h 6858000"/>
              <a:gd name="connsiteX8" fmla="*/ 4491391 w 4622041"/>
              <a:gd name="connsiteY8" fmla="*/ 6654205 h 6858000"/>
              <a:gd name="connsiteX9" fmla="*/ 4622041 w 4622041"/>
              <a:gd name="connsiteY9" fmla="*/ 6858000 h 6858000"/>
              <a:gd name="connsiteX10" fmla="*/ 4452454 w 4622041"/>
              <a:gd name="connsiteY10" fmla="*/ 6858000 h 6858000"/>
              <a:gd name="connsiteX11" fmla="*/ 3848100 w 4622041"/>
              <a:gd name="connsiteY11" fmla="*/ 6858000 h 6858000"/>
              <a:gd name="connsiteX12" fmla="*/ 3181350 w 4622041"/>
              <a:gd name="connsiteY12" fmla="*/ 6858000 h 6858000"/>
              <a:gd name="connsiteX13" fmla="*/ 1275934 w 4622041"/>
              <a:gd name="connsiteY13" fmla="*/ 6858000 h 6858000"/>
              <a:gd name="connsiteX14" fmla="*/ 0 w 4622041"/>
              <a:gd name="connsiteY14" fmla="*/ 6858000 h 6858000"/>
              <a:gd name="connsiteX15" fmla="*/ 0 w 4622041"/>
              <a:gd name="connsiteY15" fmla="*/ 5860486 h 6858000"/>
              <a:gd name="connsiteX16" fmla="*/ 0 w 4622041"/>
              <a:gd name="connsiteY16" fmla="*/ 11044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22041" h="6858000">
                <a:moveTo>
                  <a:pt x="0" y="0"/>
                </a:moveTo>
                <a:lnTo>
                  <a:pt x="1524909" y="0"/>
                </a:lnTo>
                <a:lnTo>
                  <a:pt x="3181350" y="0"/>
                </a:lnTo>
                <a:lnTo>
                  <a:pt x="3848100" y="0"/>
                </a:lnTo>
                <a:lnTo>
                  <a:pt x="4203480" y="0"/>
                </a:lnTo>
                <a:lnTo>
                  <a:pt x="4622041" y="0"/>
                </a:lnTo>
                <a:lnTo>
                  <a:pt x="4491391" y="203795"/>
                </a:lnTo>
                <a:cubicBezTo>
                  <a:pt x="3919978" y="1144214"/>
                  <a:pt x="3590925" y="2248180"/>
                  <a:pt x="3590925" y="3429000"/>
                </a:cubicBezTo>
                <a:cubicBezTo>
                  <a:pt x="3590925" y="4609821"/>
                  <a:pt x="3919978" y="5713787"/>
                  <a:pt x="4491391" y="6654205"/>
                </a:cubicBezTo>
                <a:lnTo>
                  <a:pt x="4622041" y="6858000"/>
                </a:lnTo>
                <a:lnTo>
                  <a:pt x="4452454" y="6858000"/>
                </a:lnTo>
                <a:lnTo>
                  <a:pt x="3848100" y="6858000"/>
                </a:lnTo>
                <a:lnTo>
                  <a:pt x="3181350" y="6858000"/>
                </a:lnTo>
                <a:lnTo>
                  <a:pt x="1275934" y="6858000"/>
                </a:lnTo>
                <a:lnTo>
                  <a:pt x="0" y="6858000"/>
                </a:lnTo>
                <a:lnTo>
                  <a:pt x="0" y="5860486"/>
                </a:lnTo>
                <a:lnTo>
                  <a:pt x="0" y="110440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612000" rIns="576000" bIns="648000" rtlCol="0" anchor="ctr" anchorCtr="0">
            <a:noAutofit/>
          </a:bodyPr>
          <a:lstStyle>
            <a:lvl1pPr marL="0" indent="0" algn="l">
              <a:buNone/>
              <a:defRPr lang="en-US" sz="1600" b="1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FB789-D2DE-40CF-B66E-05E9E8302D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28" y="404812"/>
            <a:ext cx="7284584" cy="125666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6875AC1-186F-4F1F-B7EF-24D7150A2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99429" y="1817051"/>
            <a:ext cx="7284584" cy="3618549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  <a:lvl2pPr marL="630900" indent="-342900"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84B23E2-5E06-49DB-8204-880C851063B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AE2E3AF-10B1-4151-87A1-E969753E9BB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499428" y="5435600"/>
            <a:ext cx="7284584" cy="765175"/>
          </a:xfrm>
        </p:spPr>
        <p:txBody>
          <a:bodyPr lIns="0" rIns="0" anchor="b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7097FB9-E2D3-4E4F-B628-163A151D14B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03215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AD9F5C2-E3CA-4137-B291-3F738B45F56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" y="0"/>
            <a:ext cx="7020377" cy="6858000"/>
          </a:xfrm>
          <a:custGeom>
            <a:avLst/>
            <a:gdLst>
              <a:gd name="connsiteX0" fmla="*/ 0 w 7020377"/>
              <a:gd name="connsiteY0" fmla="*/ 0 h 6858000"/>
              <a:gd name="connsiteX1" fmla="*/ 1524909 w 7020377"/>
              <a:gd name="connsiteY1" fmla="*/ 0 h 6858000"/>
              <a:gd name="connsiteX2" fmla="*/ 2398336 w 7020377"/>
              <a:gd name="connsiteY2" fmla="*/ 0 h 6858000"/>
              <a:gd name="connsiteX3" fmla="*/ 3120570 w 7020377"/>
              <a:gd name="connsiteY3" fmla="*/ 0 h 6858000"/>
              <a:gd name="connsiteX4" fmla="*/ 3181350 w 7020377"/>
              <a:gd name="connsiteY4" fmla="*/ 0 h 6858000"/>
              <a:gd name="connsiteX5" fmla="*/ 3848100 w 7020377"/>
              <a:gd name="connsiteY5" fmla="*/ 0 h 6858000"/>
              <a:gd name="connsiteX6" fmla="*/ 3923245 w 7020377"/>
              <a:gd name="connsiteY6" fmla="*/ 0 h 6858000"/>
              <a:gd name="connsiteX7" fmla="*/ 4203480 w 7020377"/>
              <a:gd name="connsiteY7" fmla="*/ 0 h 6858000"/>
              <a:gd name="connsiteX8" fmla="*/ 4622041 w 7020377"/>
              <a:gd name="connsiteY8" fmla="*/ 0 h 6858000"/>
              <a:gd name="connsiteX9" fmla="*/ 5579686 w 7020377"/>
              <a:gd name="connsiteY9" fmla="*/ 0 h 6858000"/>
              <a:gd name="connsiteX10" fmla="*/ 6246436 w 7020377"/>
              <a:gd name="connsiteY10" fmla="*/ 0 h 6858000"/>
              <a:gd name="connsiteX11" fmla="*/ 6601816 w 7020377"/>
              <a:gd name="connsiteY11" fmla="*/ 0 h 6858000"/>
              <a:gd name="connsiteX12" fmla="*/ 7020377 w 7020377"/>
              <a:gd name="connsiteY12" fmla="*/ 0 h 6858000"/>
              <a:gd name="connsiteX13" fmla="*/ 6889727 w 7020377"/>
              <a:gd name="connsiteY13" fmla="*/ 203795 h 6858000"/>
              <a:gd name="connsiteX14" fmla="*/ 5989261 w 7020377"/>
              <a:gd name="connsiteY14" fmla="*/ 3429000 h 6858000"/>
              <a:gd name="connsiteX15" fmla="*/ 6889727 w 7020377"/>
              <a:gd name="connsiteY15" fmla="*/ 6654205 h 6858000"/>
              <a:gd name="connsiteX16" fmla="*/ 7020377 w 7020377"/>
              <a:gd name="connsiteY16" fmla="*/ 6858000 h 6858000"/>
              <a:gd name="connsiteX17" fmla="*/ 6850790 w 7020377"/>
              <a:gd name="connsiteY17" fmla="*/ 6858000 h 6858000"/>
              <a:gd name="connsiteX18" fmla="*/ 6246436 w 7020377"/>
              <a:gd name="connsiteY18" fmla="*/ 6858000 h 6858000"/>
              <a:gd name="connsiteX19" fmla="*/ 5579686 w 7020377"/>
              <a:gd name="connsiteY19" fmla="*/ 6858000 h 6858000"/>
              <a:gd name="connsiteX20" fmla="*/ 4622041 w 7020377"/>
              <a:gd name="connsiteY20" fmla="*/ 6858000 h 6858000"/>
              <a:gd name="connsiteX21" fmla="*/ 4452454 w 7020377"/>
              <a:gd name="connsiteY21" fmla="*/ 6858000 h 6858000"/>
              <a:gd name="connsiteX22" fmla="*/ 3848100 w 7020377"/>
              <a:gd name="connsiteY22" fmla="*/ 6858000 h 6858000"/>
              <a:gd name="connsiteX23" fmla="*/ 3674270 w 7020377"/>
              <a:gd name="connsiteY23" fmla="*/ 6858000 h 6858000"/>
              <a:gd name="connsiteX24" fmla="*/ 3181350 w 7020377"/>
              <a:gd name="connsiteY24" fmla="*/ 6858000 h 6858000"/>
              <a:gd name="connsiteX25" fmla="*/ 3120570 w 7020377"/>
              <a:gd name="connsiteY25" fmla="*/ 6858000 h 6858000"/>
              <a:gd name="connsiteX26" fmla="*/ 2398336 w 7020377"/>
              <a:gd name="connsiteY26" fmla="*/ 6858000 h 6858000"/>
              <a:gd name="connsiteX27" fmla="*/ 1275934 w 7020377"/>
              <a:gd name="connsiteY27" fmla="*/ 6858000 h 6858000"/>
              <a:gd name="connsiteX28" fmla="*/ 0 w 7020377"/>
              <a:gd name="connsiteY28" fmla="*/ 6858000 h 6858000"/>
              <a:gd name="connsiteX29" fmla="*/ 0 w 7020377"/>
              <a:gd name="connsiteY29" fmla="*/ 5860486 h 6858000"/>
              <a:gd name="connsiteX30" fmla="*/ 0 w 7020377"/>
              <a:gd name="connsiteY30" fmla="*/ 11044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7020377" h="6858000">
                <a:moveTo>
                  <a:pt x="0" y="0"/>
                </a:moveTo>
                <a:lnTo>
                  <a:pt x="1524909" y="0"/>
                </a:lnTo>
                <a:lnTo>
                  <a:pt x="2398336" y="0"/>
                </a:lnTo>
                <a:lnTo>
                  <a:pt x="3120570" y="0"/>
                </a:lnTo>
                <a:lnTo>
                  <a:pt x="3181350" y="0"/>
                </a:lnTo>
                <a:lnTo>
                  <a:pt x="3848100" y="0"/>
                </a:lnTo>
                <a:lnTo>
                  <a:pt x="3923245" y="0"/>
                </a:lnTo>
                <a:lnTo>
                  <a:pt x="4203480" y="0"/>
                </a:lnTo>
                <a:lnTo>
                  <a:pt x="4622041" y="0"/>
                </a:lnTo>
                <a:lnTo>
                  <a:pt x="5579686" y="0"/>
                </a:lnTo>
                <a:lnTo>
                  <a:pt x="6246436" y="0"/>
                </a:lnTo>
                <a:lnTo>
                  <a:pt x="6601816" y="0"/>
                </a:lnTo>
                <a:lnTo>
                  <a:pt x="7020377" y="0"/>
                </a:lnTo>
                <a:lnTo>
                  <a:pt x="6889727" y="203795"/>
                </a:lnTo>
                <a:cubicBezTo>
                  <a:pt x="6318314" y="1144214"/>
                  <a:pt x="5989261" y="2248180"/>
                  <a:pt x="5989261" y="3429000"/>
                </a:cubicBezTo>
                <a:cubicBezTo>
                  <a:pt x="5989261" y="4609821"/>
                  <a:pt x="6318314" y="5713787"/>
                  <a:pt x="6889727" y="6654205"/>
                </a:cubicBezTo>
                <a:lnTo>
                  <a:pt x="7020377" y="6858000"/>
                </a:lnTo>
                <a:lnTo>
                  <a:pt x="6850790" y="6858000"/>
                </a:lnTo>
                <a:lnTo>
                  <a:pt x="6246436" y="6858000"/>
                </a:lnTo>
                <a:lnTo>
                  <a:pt x="5579686" y="6858000"/>
                </a:lnTo>
                <a:lnTo>
                  <a:pt x="4622041" y="6858000"/>
                </a:lnTo>
                <a:lnTo>
                  <a:pt x="4452454" y="6858000"/>
                </a:lnTo>
                <a:lnTo>
                  <a:pt x="3848100" y="6858000"/>
                </a:lnTo>
                <a:lnTo>
                  <a:pt x="3674270" y="6858000"/>
                </a:lnTo>
                <a:lnTo>
                  <a:pt x="3181350" y="6858000"/>
                </a:lnTo>
                <a:lnTo>
                  <a:pt x="3120570" y="6858000"/>
                </a:lnTo>
                <a:lnTo>
                  <a:pt x="2398336" y="6858000"/>
                </a:lnTo>
                <a:lnTo>
                  <a:pt x="1275934" y="6858000"/>
                </a:lnTo>
                <a:lnTo>
                  <a:pt x="0" y="6858000"/>
                </a:lnTo>
                <a:lnTo>
                  <a:pt x="0" y="5860486"/>
                </a:lnTo>
                <a:lnTo>
                  <a:pt x="0" y="110440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612000" rIns="576000" bIns="756000" rtlCol="0" anchor="ctr" anchorCtr="0">
            <a:noAutofit/>
          </a:bodyPr>
          <a:lstStyle>
            <a:lvl1pPr marL="0" indent="0" algn="ctr">
              <a:buNone/>
              <a:defRPr lang="en-US" sz="1600" b="1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FB789-D2DE-40CF-B66E-05E9E8302D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8799" y="404812"/>
            <a:ext cx="4875213" cy="125666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nter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DCC698-5F0A-4A1C-B64E-2817FBBBC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99530C-C25D-41F5-8CBD-274088C90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6875AC1-186F-4F1F-B7EF-24D7150A2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908800" y="1817051"/>
            <a:ext cx="4875213" cy="3618549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  <a:lvl2pPr marL="630900" indent="-342900"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890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content. When pasting copy from other slides, be sure to right-click and choose ‘Keep text only’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890FE4-894D-4B8C-A1B5-4F7AEC7D3C3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6908799" y="5435600"/>
            <a:ext cx="4875214" cy="765175"/>
          </a:xfrm>
        </p:spPr>
        <p:txBody>
          <a:bodyPr lIns="0" rIns="0" anchor="b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89722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alu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695E3A6-F648-449D-A3F5-AFFD89818C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139499" y="1528763"/>
            <a:ext cx="2252662" cy="22510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B83890-60A2-4CD7-8433-61AD833DB4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8" y="3898900"/>
            <a:ext cx="3716337" cy="1536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Supporting text goes here.</a:t>
            </a:r>
          </a:p>
          <a:p>
            <a:pPr lvl="0"/>
            <a:r>
              <a:rPr lang="en-US"/>
              <a:t>Text can be typed in the </a:t>
            </a:r>
            <a:br>
              <a:rPr lang="en-US"/>
            </a:br>
            <a:r>
              <a:rPr lang="en-US"/>
              <a:t>lens above. 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85D329E-FD98-4F35-BF5A-DCBA1D5EE1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7038" y="3898900"/>
            <a:ext cx="3716337" cy="1536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Supporting text goes here.</a:t>
            </a:r>
          </a:p>
          <a:p>
            <a:pPr lvl="0"/>
            <a:r>
              <a:rPr lang="en-US"/>
              <a:t>Text can be typed in the </a:t>
            </a:r>
            <a:br>
              <a:rPr lang="en-US"/>
            </a:br>
            <a:r>
              <a:rPr lang="en-US"/>
              <a:t>lens above. 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CFD8892-F6A8-4E89-AC4F-35A1E209C4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7676" y="3898900"/>
            <a:ext cx="3716337" cy="15367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Supporting text goes here.</a:t>
            </a:r>
          </a:p>
          <a:p>
            <a:pPr lvl="0"/>
            <a:r>
              <a:rPr lang="en-US"/>
              <a:t>Text can be typed in the </a:t>
            </a:r>
            <a:br>
              <a:rPr lang="en-US"/>
            </a:br>
            <a:r>
              <a:rPr lang="en-US"/>
              <a:t>lens above. </a:t>
            </a:r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294EA0F6-AA52-4217-A12C-1EE4C8D0E63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68875" y="1528763"/>
            <a:ext cx="2252662" cy="22510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1AD9650E-2955-437F-952D-0694E47BF67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799513" y="1528763"/>
            <a:ext cx="2252662" cy="22510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45BA28-9268-48CE-8962-39F56ADB8E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0FEBC8-F915-4D21-B7EC-D9665F28E32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83F930-38D6-455D-84C2-DD9D1E30FD4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606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 L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D0FA13F-5B1F-4795-B0E7-3E97B5D8E0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-1"/>
            <a:ext cx="3875391" cy="4330700"/>
          </a:xfrm>
          <a:custGeom>
            <a:avLst/>
            <a:gdLst>
              <a:gd name="connsiteX0" fmla="*/ 417122 w 3875391"/>
              <a:gd name="connsiteY0" fmla="*/ 0 h 4330700"/>
              <a:gd name="connsiteX1" fmla="*/ 2700571 w 3875391"/>
              <a:gd name="connsiteY1" fmla="*/ 0 h 4330700"/>
              <a:gd name="connsiteX2" fmla="*/ 2854048 w 3875391"/>
              <a:gd name="connsiteY2" fmla="*/ 93240 h 4330700"/>
              <a:gd name="connsiteX3" fmla="*/ 3875391 w 3875391"/>
              <a:gd name="connsiteY3" fmla="*/ 2014156 h 4330700"/>
              <a:gd name="connsiteX4" fmla="*/ 3479762 w 3875391"/>
              <a:gd name="connsiteY4" fmla="*/ 3309358 h 4330700"/>
              <a:gd name="connsiteX5" fmla="*/ 3457575 w 3875391"/>
              <a:gd name="connsiteY5" fmla="*/ 3339027 h 4330700"/>
              <a:gd name="connsiteX6" fmla="*/ 3457575 w 3875391"/>
              <a:gd name="connsiteY6" fmla="*/ 3343274 h 4330700"/>
              <a:gd name="connsiteX7" fmla="*/ 3454399 w 3875391"/>
              <a:gd name="connsiteY7" fmla="*/ 3343274 h 4330700"/>
              <a:gd name="connsiteX8" fmla="*/ 3346405 w 3875391"/>
              <a:gd name="connsiteY8" fmla="*/ 3487693 h 4330700"/>
              <a:gd name="connsiteX9" fmla="*/ 1558846 w 3875391"/>
              <a:gd name="connsiteY9" fmla="*/ 4330700 h 4330700"/>
              <a:gd name="connsiteX10" fmla="*/ 85309 w 3875391"/>
              <a:gd name="connsiteY10" fmla="*/ 3801714 h 4330700"/>
              <a:gd name="connsiteX11" fmla="*/ 0 w 3875391"/>
              <a:gd name="connsiteY11" fmla="*/ 3724180 h 4330700"/>
              <a:gd name="connsiteX12" fmla="*/ 0 w 3875391"/>
              <a:gd name="connsiteY12" fmla="*/ 304131 h 4330700"/>
              <a:gd name="connsiteX13" fmla="*/ 85309 w 3875391"/>
              <a:gd name="connsiteY13" fmla="*/ 226597 h 4330700"/>
              <a:gd name="connsiteX14" fmla="*/ 263644 w 3875391"/>
              <a:gd name="connsiteY14" fmla="*/ 93240 h 433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75391" h="4330700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70253" y="509540"/>
                  <a:pt x="3875391" y="1214535"/>
                  <a:pt x="3875391" y="2014156"/>
                </a:cubicBezTo>
                <a:cubicBezTo>
                  <a:pt x="3875391" y="2493928"/>
                  <a:pt x="3729542" y="2939635"/>
                  <a:pt x="3479762" y="3309358"/>
                </a:cubicBezTo>
                <a:lnTo>
                  <a:pt x="3457575" y="3339027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346405" y="3487693"/>
                </a:lnTo>
                <a:cubicBezTo>
                  <a:pt x="2921516" y="4002539"/>
                  <a:pt x="2278504" y="4330700"/>
                  <a:pt x="1558846" y="4330700"/>
                </a:cubicBezTo>
                <a:cubicBezTo>
                  <a:pt x="999112" y="4330700"/>
                  <a:pt x="485745" y="4132183"/>
                  <a:pt x="85309" y="3801714"/>
                </a:cubicBezTo>
                <a:lnTo>
                  <a:pt x="0" y="3724180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360000" bIns="360000" anchor="ctr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>
            <a:cxnSpLocks/>
          </p:cNvCxnSpPr>
          <p:nvPr userDrawn="1"/>
        </p:nvCxnSpPr>
        <p:spPr>
          <a:xfrm>
            <a:off x="3540125" y="3730171"/>
            <a:ext cx="0" cy="24795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A4EBE2-41F7-48F4-B525-605699ECF92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38625" y="404813"/>
            <a:ext cx="7545387" cy="5795961"/>
          </a:xfrm>
        </p:spPr>
        <p:txBody>
          <a:bodyPr/>
          <a:lstStyle>
            <a:lvl1pPr>
              <a:defRPr/>
            </a:lvl1pPr>
            <a:lvl2pPr marL="630900" indent="-342900"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160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2000" indent="-2160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9C580CE-4074-4379-8D68-E5118B13A13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52CB075-6747-4030-9E53-27E8FD0888B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2C25B5D-B685-4B55-8498-3486110FDC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8580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75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Valu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695E3A6-F648-449D-A3F5-AFFD89818C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68658" y="1528763"/>
            <a:ext cx="2252662" cy="22510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B83890-60A2-4CD7-8433-61AD833DB4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9" y="3918857"/>
            <a:ext cx="2574000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294EA0F6-AA52-4217-A12C-1EE4C8D0E63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02666" y="1528763"/>
            <a:ext cx="2252662" cy="22510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1AD9650E-2955-437F-952D-0694E47BF67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436674" y="1528763"/>
            <a:ext cx="2252662" cy="22510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EB33FE00-A19B-45E3-8D61-B75D7DD29A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41997" y="3918857"/>
            <a:ext cx="2574000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7A4024B-D5FA-4839-AA86-BC8B688C0E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76005" y="3918857"/>
            <a:ext cx="2574000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BF2CC05-7002-401F-8D90-2F9EDB9942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0013" y="3918857"/>
            <a:ext cx="2574000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6" name="Picture Placeholder 18">
            <a:extLst>
              <a:ext uri="{FF2B5EF4-FFF2-40B4-BE49-F238E27FC236}">
                <a16:creationId xmlns:a16="http://schemas.microsoft.com/office/drawing/2014/main" id="{1B57E0F9-4409-404D-8624-8F353C89B7B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370682" y="1528763"/>
            <a:ext cx="2252662" cy="22510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BF1220-9392-4AC4-85F5-E491FD05FCE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6003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Valu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695E3A6-F648-449D-A3F5-AFFD89818C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1619" y="1747616"/>
            <a:ext cx="1814648" cy="181337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B83890-60A2-4CD7-8433-61AD833DB4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8" y="3918857"/>
            <a:ext cx="2101911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294EA0F6-AA52-4217-A12C-1EE4C8D0E63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70147" y="1747616"/>
            <a:ext cx="1814648" cy="181337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1AD9650E-2955-437F-952D-0694E47BF67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88675" y="1747616"/>
            <a:ext cx="1814648" cy="181337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EB33FE00-A19B-45E3-8D61-B75D7DD29A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726516" y="3918857"/>
            <a:ext cx="2101911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7A4024B-D5FA-4839-AA86-BC8B688C0E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45044" y="3918857"/>
            <a:ext cx="2101911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BF2CC05-7002-401F-8D90-2F9EDB9942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82101" y="3918857"/>
            <a:ext cx="2101911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26" name="Picture Placeholder 18">
            <a:extLst>
              <a:ext uri="{FF2B5EF4-FFF2-40B4-BE49-F238E27FC236}">
                <a16:creationId xmlns:a16="http://schemas.microsoft.com/office/drawing/2014/main" id="{1B57E0F9-4409-404D-8624-8F353C89B7B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825732" y="1747616"/>
            <a:ext cx="1814648" cy="181337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6206783-3F73-4C27-AA7D-41339A69D5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63572" y="3918857"/>
            <a:ext cx="2101911" cy="1200329"/>
          </a:xfrm>
        </p:spPr>
        <p:txBody>
          <a:bodyPr>
            <a:sp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Supporting text goes here. Text can be typed in the lens above. </a:t>
            </a:r>
          </a:p>
        </p:txBody>
      </p:sp>
      <p:sp>
        <p:nvSpPr>
          <p:cNvPr id="15" name="Picture Placeholder 18">
            <a:extLst>
              <a:ext uri="{FF2B5EF4-FFF2-40B4-BE49-F238E27FC236}">
                <a16:creationId xmlns:a16="http://schemas.microsoft.com/office/drawing/2014/main" id="{1DFC729E-ACCA-470B-9E2F-8BB96EC99FA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507203" y="1747616"/>
            <a:ext cx="1814648" cy="181337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4200C4-409B-47D7-A021-26301AD1B28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5640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scape Me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D22D6C5-1545-4757-9B25-B461E29D4229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396000" tIns="360000" rIns="0" bIns="3600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071349"/>
            <a:ext cx="3049588" cy="22719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FF19C2-7B59-4C33-B799-0219C67735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98515" y="1518051"/>
            <a:ext cx="8085491" cy="45478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bIns="36000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BFA38E-8BE5-40D0-B637-89A4108D58C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7987" y="3514728"/>
            <a:ext cx="3049589" cy="2686048"/>
          </a:xfrm>
        </p:spPr>
        <p:txBody>
          <a:bodyPr lIns="0" rIns="0"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5920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98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rait Me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7C1697E-0BEE-4C63-A6B8-7B7939CAE2C1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396000" tIns="360000" rIns="0" bIns="3600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071349"/>
            <a:ext cx="3049588" cy="22719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nter title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FF19C2-7B59-4C33-B799-0219C67735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37038" y="404813"/>
            <a:ext cx="5613716" cy="64531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bIns="54000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005DD-21BA-480F-A05C-7F9B5BB967C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69E5658-C326-48E1-9964-6BB3723336D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A88B8832-5C0F-4B4C-A5AD-5B01B26BE91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07987" y="3514728"/>
            <a:ext cx="3049589" cy="2686048"/>
          </a:xfrm>
        </p:spPr>
        <p:txBody>
          <a:bodyPr lIns="0" rIns="0"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22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98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8753438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Alternativ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3AE41C11-E666-4A3A-8B9C-2D20733917D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0" y="-1"/>
            <a:ext cx="12192000" cy="6858001"/>
          </a:xfrm>
          <a:custGeom>
            <a:avLst/>
            <a:gdLst>
              <a:gd name="connsiteX0" fmla="*/ 11696741 w 12192000"/>
              <a:gd name="connsiteY0" fmla="*/ 6413786 h 6858001"/>
              <a:gd name="connsiteX1" fmla="*/ 11675409 w 12192000"/>
              <a:gd name="connsiteY1" fmla="*/ 6438944 h 6858001"/>
              <a:gd name="connsiteX2" fmla="*/ 11730040 w 12192000"/>
              <a:gd name="connsiteY2" fmla="*/ 6517531 h 6858001"/>
              <a:gd name="connsiteX3" fmla="*/ 11787273 w 12192000"/>
              <a:gd name="connsiteY3" fmla="*/ 6510528 h 6858001"/>
              <a:gd name="connsiteX4" fmla="*/ 11788053 w 12192000"/>
              <a:gd name="connsiteY4" fmla="*/ 6506379 h 6858001"/>
              <a:gd name="connsiteX5" fmla="*/ 11792216 w 12192000"/>
              <a:gd name="connsiteY5" fmla="*/ 6478367 h 6858001"/>
              <a:gd name="connsiteX6" fmla="*/ 11758396 w 12192000"/>
              <a:gd name="connsiteY6" fmla="*/ 6463843 h 6858001"/>
              <a:gd name="connsiteX7" fmla="*/ 11760738 w 12192000"/>
              <a:gd name="connsiteY7" fmla="*/ 6499895 h 6858001"/>
              <a:gd name="connsiteX8" fmla="*/ 11760738 w 12192000"/>
              <a:gd name="connsiteY8" fmla="*/ 6504304 h 6858001"/>
              <a:gd name="connsiteX9" fmla="*/ 11744088 w 12192000"/>
              <a:gd name="connsiteY9" fmla="*/ 6515456 h 6858001"/>
              <a:gd name="connsiteX10" fmla="*/ 11688156 w 12192000"/>
              <a:gd name="connsiteY10" fmla="*/ 6432460 h 6858001"/>
              <a:gd name="connsiteX11" fmla="*/ 11689457 w 12192000"/>
              <a:gd name="connsiteY11" fmla="*/ 6431164 h 6858001"/>
              <a:gd name="connsiteX12" fmla="*/ 11690237 w 12192000"/>
              <a:gd name="connsiteY12" fmla="*/ 6431682 h 6858001"/>
              <a:gd name="connsiteX13" fmla="*/ 11690498 w 12192000"/>
              <a:gd name="connsiteY13" fmla="*/ 6431682 h 6858001"/>
              <a:gd name="connsiteX14" fmla="*/ 11758136 w 12192000"/>
              <a:gd name="connsiteY14" fmla="*/ 6459175 h 6858001"/>
              <a:gd name="connsiteX15" fmla="*/ 11792476 w 12192000"/>
              <a:gd name="connsiteY15" fmla="*/ 6473958 h 6858001"/>
              <a:gd name="connsiteX16" fmla="*/ 11819531 w 12192000"/>
              <a:gd name="connsiteY16" fmla="*/ 6486926 h 6858001"/>
              <a:gd name="connsiteX17" fmla="*/ 11831758 w 12192000"/>
              <a:gd name="connsiteY17" fmla="*/ 6503785 h 6858001"/>
              <a:gd name="connsiteX18" fmla="*/ 11679831 w 12192000"/>
              <a:gd name="connsiteY18" fmla="*/ 6616867 h 6858001"/>
              <a:gd name="connsiteX19" fmla="*/ 11679311 w 12192000"/>
              <a:gd name="connsiteY19" fmla="*/ 6617386 h 6858001"/>
              <a:gd name="connsiteX20" fmla="*/ 11678271 w 12192000"/>
              <a:gd name="connsiteY20" fmla="*/ 6618942 h 6858001"/>
              <a:gd name="connsiteX21" fmla="*/ 11678010 w 12192000"/>
              <a:gd name="connsiteY21" fmla="*/ 6619461 h 6858001"/>
              <a:gd name="connsiteX22" fmla="*/ 11673328 w 12192000"/>
              <a:gd name="connsiteY22" fmla="*/ 6633725 h 6858001"/>
              <a:gd name="connsiteX23" fmla="*/ 11692319 w 12192000"/>
              <a:gd name="connsiteY23" fmla="*/ 6657587 h 6858001"/>
              <a:gd name="connsiteX24" fmla="*/ 11705066 w 12192000"/>
              <a:gd name="connsiteY24" fmla="*/ 6659921 h 6858001"/>
              <a:gd name="connsiteX25" fmla="*/ 11707667 w 12192000"/>
              <a:gd name="connsiteY25" fmla="*/ 6660180 h 6858001"/>
              <a:gd name="connsiteX26" fmla="*/ 11833840 w 12192000"/>
              <a:gd name="connsiteY26" fmla="*/ 6635282 h 6858001"/>
              <a:gd name="connsiteX27" fmla="*/ 11843465 w 12192000"/>
              <a:gd name="connsiteY27" fmla="*/ 6609086 h 6858001"/>
              <a:gd name="connsiteX28" fmla="*/ 11799500 w 12192000"/>
              <a:gd name="connsiteY28" fmla="*/ 6583409 h 6858001"/>
              <a:gd name="connsiteX29" fmla="*/ 11790135 w 12192000"/>
              <a:gd name="connsiteY29" fmla="*/ 6589634 h 6858001"/>
              <a:gd name="connsiteX30" fmla="*/ 11825255 w 12192000"/>
              <a:gd name="connsiteY30" fmla="*/ 6612976 h 6858001"/>
              <a:gd name="connsiteX31" fmla="*/ 11823434 w 12192000"/>
              <a:gd name="connsiteY31" fmla="*/ 6616608 h 6858001"/>
              <a:gd name="connsiteX32" fmla="*/ 11821092 w 12192000"/>
              <a:gd name="connsiteY32" fmla="*/ 6616608 h 6858001"/>
              <a:gd name="connsiteX33" fmla="*/ 11743568 w 12192000"/>
              <a:gd name="connsiteY33" fmla="*/ 6621795 h 6858001"/>
              <a:gd name="connsiteX34" fmla="*/ 11736284 w 12192000"/>
              <a:gd name="connsiteY34" fmla="*/ 6622054 h 6858001"/>
              <a:gd name="connsiteX35" fmla="*/ 11748251 w 12192000"/>
              <a:gd name="connsiteY35" fmla="*/ 6612458 h 6858001"/>
              <a:gd name="connsiteX36" fmla="*/ 11871301 w 12192000"/>
              <a:gd name="connsiteY36" fmla="*/ 6530240 h 6858001"/>
              <a:gd name="connsiteX37" fmla="*/ 11841124 w 12192000"/>
              <a:gd name="connsiteY37" fmla="*/ 6451912 h 6858001"/>
              <a:gd name="connsiteX38" fmla="*/ 11696741 w 12192000"/>
              <a:gd name="connsiteY38" fmla="*/ 6413786 h 6858001"/>
              <a:gd name="connsiteX39" fmla="*/ 11759176 w 12192000"/>
              <a:gd name="connsiteY39" fmla="*/ 6303891 h 6858001"/>
              <a:gd name="connsiteX40" fmla="*/ 11641467 w 12192000"/>
              <a:gd name="connsiteY40" fmla="*/ 6408732 h 6858001"/>
              <a:gd name="connsiteX41" fmla="*/ 11597457 w 12192000"/>
              <a:gd name="connsiteY41" fmla="*/ 6477501 h 6858001"/>
              <a:gd name="connsiteX42" fmla="*/ 11615946 w 12192000"/>
              <a:gd name="connsiteY42" fmla="*/ 6498261 h 6858001"/>
              <a:gd name="connsiteX43" fmla="*/ 11737041 w 12192000"/>
              <a:gd name="connsiteY43" fmla="*/ 6560802 h 6858001"/>
              <a:gd name="connsiteX44" fmla="*/ 11746676 w 12192000"/>
              <a:gd name="connsiteY44" fmla="*/ 6554834 h 6858001"/>
              <a:gd name="connsiteX45" fmla="*/ 11639384 w 12192000"/>
              <a:gd name="connsiteY45" fmla="*/ 6495666 h 6858001"/>
              <a:gd name="connsiteX46" fmla="*/ 11622717 w 12192000"/>
              <a:gd name="connsiteY46" fmla="*/ 6480096 h 6858001"/>
              <a:gd name="connsiteX47" fmla="*/ 11652405 w 12192000"/>
              <a:gd name="connsiteY47" fmla="*/ 6448955 h 6858001"/>
              <a:gd name="connsiteX48" fmla="*/ 11668811 w 12192000"/>
              <a:gd name="connsiteY48" fmla="*/ 6432606 h 6858001"/>
              <a:gd name="connsiteX49" fmla="*/ 11670895 w 12192000"/>
              <a:gd name="connsiteY49" fmla="*/ 6415738 h 6858001"/>
              <a:gd name="connsiteX50" fmla="*/ 11692249 w 12192000"/>
              <a:gd name="connsiteY50" fmla="*/ 6408991 h 6858001"/>
              <a:gd name="connsiteX51" fmla="*/ 11720374 w 12192000"/>
              <a:gd name="connsiteY51" fmla="*/ 6380705 h 6858001"/>
              <a:gd name="connsiteX52" fmla="*/ 11743291 w 12192000"/>
              <a:gd name="connsiteY52" fmla="*/ 6362799 h 6858001"/>
              <a:gd name="connsiteX53" fmla="*/ 11749801 w 12192000"/>
              <a:gd name="connsiteY53" fmla="*/ 6375255 h 6858001"/>
              <a:gd name="connsiteX54" fmla="*/ 11754749 w 12192000"/>
              <a:gd name="connsiteY54" fmla="*/ 6420669 h 6858001"/>
              <a:gd name="connsiteX55" fmla="*/ 11793812 w 12192000"/>
              <a:gd name="connsiteY55" fmla="*/ 6431568 h 6858001"/>
              <a:gd name="connsiteX56" fmla="*/ 11759176 w 12192000"/>
              <a:gd name="connsiteY56" fmla="*/ 6303891 h 6858001"/>
              <a:gd name="connsiteX57" fmla="*/ 0 w 12192000"/>
              <a:gd name="connsiteY57" fmla="*/ 0 h 6858001"/>
              <a:gd name="connsiteX58" fmla="*/ 12192000 w 12192000"/>
              <a:gd name="connsiteY58" fmla="*/ 0 h 6858001"/>
              <a:gd name="connsiteX59" fmla="*/ 12192000 w 12192000"/>
              <a:gd name="connsiteY59" fmla="*/ 6858001 h 6858001"/>
              <a:gd name="connsiteX60" fmla="*/ 0 w 12192000"/>
              <a:gd name="connsiteY60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2192000" h="6858001">
                <a:moveTo>
                  <a:pt x="11696741" y="6413786"/>
                </a:moveTo>
                <a:cubicBezTo>
                  <a:pt x="11675409" y="6410933"/>
                  <a:pt x="11666824" y="6418714"/>
                  <a:pt x="11675409" y="6438944"/>
                </a:cubicBezTo>
                <a:cubicBezTo>
                  <a:pt x="11684254" y="6458915"/>
                  <a:pt x="11706627" y="6492373"/>
                  <a:pt x="11730040" y="6517531"/>
                </a:cubicBezTo>
                <a:cubicBezTo>
                  <a:pt x="11753714" y="6542430"/>
                  <a:pt x="11779208" y="6549433"/>
                  <a:pt x="11787273" y="6510528"/>
                </a:cubicBezTo>
                <a:cubicBezTo>
                  <a:pt x="11787533" y="6509232"/>
                  <a:pt x="11787793" y="6507935"/>
                  <a:pt x="11788053" y="6506379"/>
                </a:cubicBezTo>
                <a:cubicBezTo>
                  <a:pt x="11789874" y="6496523"/>
                  <a:pt x="11791435" y="6486926"/>
                  <a:pt x="11792216" y="6478367"/>
                </a:cubicBezTo>
                <a:cubicBezTo>
                  <a:pt x="11781810" y="6473699"/>
                  <a:pt x="11770103" y="6468771"/>
                  <a:pt x="11758396" y="6463843"/>
                </a:cubicBezTo>
                <a:cubicBezTo>
                  <a:pt x="11759177" y="6472661"/>
                  <a:pt x="11760217" y="6487964"/>
                  <a:pt x="11760738" y="6499895"/>
                </a:cubicBezTo>
                <a:cubicBezTo>
                  <a:pt x="11760738" y="6501191"/>
                  <a:pt x="11760738" y="6502748"/>
                  <a:pt x="11760738" y="6504304"/>
                </a:cubicBezTo>
                <a:cubicBezTo>
                  <a:pt x="11761518" y="6523237"/>
                  <a:pt x="11755014" y="6523237"/>
                  <a:pt x="11744088" y="6515456"/>
                </a:cubicBezTo>
                <a:cubicBezTo>
                  <a:pt x="11731341" y="6506379"/>
                  <a:pt x="11692579" y="6455284"/>
                  <a:pt x="11688156" y="6432460"/>
                </a:cubicBezTo>
                <a:cubicBezTo>
                  <a:pt x="11687896" y="6431164"/>
                  <a:pt x="11688676" y="6430904"/>
                  <a:pt x="11689457" y="6431164"/>
                </a:cubicBezTo>
                <a:cubicBezTo>
                  <a:pt x="11689717" y="6431423"/>
                  <a:pt x="11689977" y="6431423"/>
                  <a:pt x="11690237" y="6431682"/>
                </a:cubicBezTo>
                <a:cubicBezTo>
                  <a:pt x="11690237" y="6431682"/>
                  <a:pt x="11690237" y="6431682"/>
                  <a:pt x="11690498" y="6431682"/>
                </a:cubicBezTo>
                <a:cubicBezTo>
                  <a:pt x="11699082" y="6435054"/>
                  <a:pt x="11728479" y="6446725"/>
                  <a:pt x="11758136" y="6459175"/>
                </a:cubicBezTo>
                <a:cubicBezTo>
                  <a:pt x="11769843" y="6464103"/>
                  <a:pt x="11781810" y="6469290"/>
                  <a:pt x="11792476" y="6473958"/>
                </a:cubicBezTo>
                <a:cubicBezTo>
                  <a:pt x="11803142" y="6478627"/>
                  <a:pt x="11812507" y="6483295"/>
                  <a:pt x="11819531" y="6486926"/>
                </a:cubicBezTo>
                <a:cubicBezTo>
                  <a:pt x="11832279" y="6493670"/>
                  <a:pt x="11837221" y="6498338"/>
                  <a:pt x="11831758" y="6503785"/>
                </a:cubicBezTo>
                <a:cubicBezTo>
                  <a:pt x="11805223" y="6531018"/>
                  <a:pt x="11711830" y="6569404"/>
                  <a:pt x="11679831" y="6616867"/>
                </a:cubicBezTo>
                <a:cubicBezTo>
                  <a:pt x="11679831" y="6616867"/>
                  <a:pt x="11679571" y="6617126"/>
                  <a:pt x="11679311" y="6617386"/>
                </a:cubicBezTo>
                <a:cubicBezTo>
                  <a:pt x="11679051" y="6617904"/>
                  <a:pt x="11678531" y="6618423"/>
                  <a:pt x="11678271" y="6618942"/>
                </a:cubicBezTo>
                <a:cubicBezTo>
                  <a:pt x="11678271" y="6619201"/>
                  <a:pt x="11678271" y="6619461"/>
                  <a:pt x="11678010" y="6619461"/>
                </a:cubicBezTo>
                <a:cubicBezTo>
                  <a:pt x="11676450" y="6622573"/>
                  <a:pt x="11674108" y="6627501"/>
                  <a:pt x="11673328" y="6633725"/>
                </a:cubicBezTo>
                <a:cubicBezTo>
                  <a:pt x="11672027" y="6644100"/>
                  <a:pt x="11677490" y="6653696"/>
                  <a:pt x="11692319" y="6657587"/>
                </a:cubicBezTo>
                <a:cubicBezTo>
                  <a:pt x="11696221" y="6658624"/>
                  <a:pt x="11700383" y="6659402"/>
                  <a:pt x="11705066" y="6659921"/>
                </a:cubicBezTo>
                <a:cubicBezTo>
                  <a:pt x="11705846" y="6660180"/>
                  <a:pt x="11706887" y="6660180"/>
                  <a:pt x="11707667" y="6660180"/>
                </a:cubicBezTo>
                <a:cubicBezTo>
                  <a:pt x="11736544" y="6661477"/>
                  <a:pt x="11811207" y="6645137"/>
                  <a:pt x="11833840" y="6635282"/>
                </a:cubicBezTo>
                <a:cubicBezTo>
                  <a:pt x="11857253" y="6624907"/>
                  <a:pt x="11850229" y="6614533"/>
                  <a:pt x="11843465" y="6609086"/>
                </a:cubicBezTo>
                <a:cubicBezTo>
                  <a:pt x="11838262" y="6604936"/>
                  <a:pt x="11812247" y="6590412"/>
                  <a:pt x="11799500" y="6583409"/>
                </a:cubicBezTo>
                <a:cubicBezTo>
                  <a:pt x="11796118" y="6585743"/>
                  <a:pt x="11793516" y="6587300"/>
                  <a:pt x="11790135" y="6589634"/>
                </a:cubicBezTo>
                <a:cubicBezTo>
                  <a:pt x="11811727" y="6602602"/>
                  <a:pt x="11820312" y="6609086"/>
                  <a:pt x="11825255" y="6612976"/>
                </a:cubicBezTo>
                <a:cubicBezTo>
                  <a:pt x="11827336" y="6614533"/>
                  <a:pt x="11826295" y="6616348"/>
                  <a:pt x="11823434" y="6616608"/>
                </a:cubicBezTo>
                <a:cubicBezTo>
                  <a:pt x="11822653" y="6616608"/>
                  <a:pt x="11821873" y="6616608"/>
                  <a:pt x="11821092" y="6616608"/>
                </a:cubicBezTo>
                <a:cubicBezTo>
                  <a:pt x="11800540" y="6618164"/>
                  <a:pt x="11761778" y="6620757"/>
                  <a:pt x="11743568" y="6621795"/>
                </a:cubicBezTo>
                <a:cubicBezTo>
                  <a:pt x="11740966" y="6622054"/>
                  <a:pt x="11737845" y="6622054"/>
                  <a:pt x="11736284" y="6622054"/>
                </a:cubicBezTo>
                <a:cubicBezTo>
                  <a:pt x="11740706" y="6617904"/>
                  <a:pt x="11745649" y="6614273"/>
                  <a:pt x="11748251" y="6612458"/>
                </a:cubicBezTo>
                <a:cubicBezTo>
                  <a:pt x="11787273" y="6584965"/>
                  <a:pt x="11852050" y="6546580"/>
                  <a:pt x="11871301" y="6530240"/>
                </a:cubicBezTo>
                <a:cubicBezTo>
                  <a:pt x="11885349" y="6518050"/>
                  <a:pt x="11923851" y="6480961"/>
                  <a:pt x="11841124" y="6451912"/>
                </a:cubicBezTo>
                <a:cubicBezTo>
                  <a:pt x="11817450" y="6443872"/>
                  <a:pt x="11758657" y="6422086"/>
                  <a:pt x="11696741" y="6413786"/>
                </a:cubicBezTo>
                <a:close/>
                <a:moveTo>
                  <a:pt x="11759176" y="6303891"/>
                </a:moveTo>
                <a:cubicBezTo>
                  <a:pt x="11739124" y="6301296"/>
                  <a:pt x="11708916" y="6326468"/>
                  <a:pt x="11641467" y="6408732"/>
                </a:cubicBezTo>
                <a:cubicBezTo>
                  <a:pt x="11628967" y="6423783"/>
                  <a:pt x="11599800" y="6460633"/>
                  <a:pt x="11597457" y="6477501"/>
                </a:cubicBezTo>
                <a:cubicBezTo>
                  <a:pt x="11595894" y="6489438"/>
                  <a:pt x="11608655" y="6494628"/>
                  <a:pt x="11615946" y="6498261"/>
                </a:cubicBezTo>
                <a:cubicBezTo>
                  <a:pt x="11622717" y="6501894"/>
                  <a:pt x="11700843" y="6540561"/>
                  <a:pt x="11737041" y="6560802"/>
                </a:cubicBezTo>
                <a:cubicBezTo>
                  <a:pt x="11740166" y="6558726"/>
                  <a:pt x="11743291" y="6556650"/>
                  <a:pt x="11746676" y="6554834"/>
                </a:cubicBezTo>
                <a:cubicBezTo>
                  <a:pt x="11725062" y="6543156"/>
                  <a:pt x="11664124" y="6510458"/>
                  <a:pt x="11639384" y="6495666"/>
                </a:cubicBezTo>
                <a:cubicBezTo>
                  <a:pt x="11629228" y="6489698"/>
                  <a:pt x="11622196" y="6484767"/>
                  <a:pt x="11622717" y="6480096"/>
                </a:cubicBezTo>
                <a:cubicBezTo>
                  <a:pt x="11623498" y="6474387"/>
                  <a:pt x="11638342" y="6462968"/>
                  <a:pt x="11652405" y="6448955"/>
                </a:cubicBezTo>
                <a:cubicBezTo>
                  <a:pt x="11656051" y="6445322"/>
                  <a:pt x="11662040" y="6439353"/>
                  <a:pt x="11668811" y="6432606"/>
                </a:cubicBezTo>
                <a:cubicBezTo>
                  <a:pt x="11666988" y="6425600"/>
                  <a:pt x="11667769" y="6419890"/>
                  <a:pt x="11670895" y="6415738"/>
                </a:cubicBezTo>
                <a:cubicBezTo>
                  <a:pt x="11674801" y="6410548"/>
                  <a:pt x="11681832" y="6408472"/>
                  <a:pt x="11692249" y="6408991"/>
                </a:cubicBezTo>
                <a:cubicBezTo>
                  <a:pt x="11705009" y="6396275"/>
                  <a:pt x="11716468" y="6384857"/>
                  <a:pt x="11720374" y="6380705"/>
                </a:cubicBezTo>
                <a:cubicBezTo>
                  <a:pt x="11729489" y="6371622"/>
                  <a:pt x="11739124" y="6362280"/>
                  <a:pt x="11743291" y="6362799"/>
                </a:cubicBezTo>
                <a:cubicBezTo>
                  <a:pt x="11746676" y="6363318"/>
                  <a:pt x="11748499" y="6366432"/>
                  <a:pt x="11749801" y="6375255"/>
                </a:cubicBezTo>
                <a:cubicBezTo>
                  <a:pt x="11750843" y="6383041"/>
                  <a:pt x="11753447" y="6405618"/>
                  <a:pt x="11754749" y="6420669"/>
                </a:cubicBezTo>
                <a:cubicBezTo>
                  <a:pt x="11768812" y="6424043"/>
                  <a:pt x="11781833" y="6427935"/>
                  <a:pt x="11793812" y="6431568"/>
                </a:cubicBezTo>
                <a:cubicBezTo>
                  <a:pt x="11792249" y="6328544"/>
                  <a:pt x="11780531" y="6306746"/>
                  <a:pt x="11759176" y="630389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close/>
              </a:path>
            </a:pathLst>
          </a:custGeom>
          <a:noFill/>
        </p:spPr>
        <p:txBody>
          <a:bodyPr wrap="square" lIns="6588000" t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2DF5099-62D1-4656-B26C-07955959F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388" y="744537"/>
            <a:ext cx="5135562" cy="5135562"/>
          </a:xfrm>
          <a:custGeom>
            <a:avLst/>
            <a:gdLst>
              <a:gd name="connsiteX0" fmla="*/ 3035300 w 6070600"/>
              <a:gd name="connsiteY0" fmla="*/ 0 h 6070600"/>
              <a:gd name="connsiteX1" fmla="*/ 3647019 w 6070600"/>
              <a:gd name="connsiteY1" fmla="*/ 61667 h 6070600"/>
              <a:gd name="connsiteX2" fmla="*/ 3789752 w 6070600"/>
              <a:gd name="connsiteY2" fmla="*/ 98367 h 6070600"/>
              <a:gd name="connsiteX3" fmla="*/ 3789752 w 6070600"/>
              <a:gd name="connsiteY3" fmla="*/ 98367 h 6070600"/>
              <a:gd name="connsiteX4" fmla="*/ 3817989 w 6070600"/>
              <a:gd name="connsiteY4" fmla="*/ 105627 h 6070600"/>
              <a:gd name="connsiteX5" fmla="*/ 3937906 w 6070600"/>
              <a:gd name="connsiteY5" fmla="*/ 136461 h 6070600"/>
              <a:gd name="connsiteX6" fmla="*/ 4194228 w 6070600"/>
              <a:gd name="connsiteY6" fmla="*/ 230276 h 6070600"/>
              <a:gd name="connsiteX7" fmla="*/ 4272436 w 6070600"/>
              <a:gd name="connsiteY7" fmla="*/ 265342 h 6070600"/>
              <a:gd name="connsiteX8" fmla="*/ 4441383 w 6070600"/>
              <a:gd name="connsiteY8" fmla="*/ 346728 h 6070600"/>
              <a:gd name="connsiteX9" fmla="*/ 4526154 w 6070600"/>
              <a:gd name="connsiteY9" fmla="*/ 393105 h 6070600"/>
              <a:gd name="connsiteX10" fmla="*/ 4681392 w 6070600"/>
              <a:gd name="connsiteY10" fmla="*/ 487414 h 6070600"/>
              <a:gd name="connsiteX11" fmla="*/ 4757518 w 6070600"/>
              <a:gd name="connsiteY11" fmla="*/ 537190 h 6070600"/>
              <a:gd name="connsiteX12" fmla="*/ 4931089 w 6070600"/>
              <a:gd name="connsiteY12" fmla="*/ 666984 h 6070600"/>
              <a:gd name="connsiteX13" fmla="*/ 4972038 w 6070600"/>
              <a:gd name="connsiteY13" fmla="*/ 698573 h 6070600"/>
              <a:gd name="connsiteX14" fmla="*/ 5169719 w 6070600"/>
              <a:gd name="connsiteY14" fmla="*/ 878237 h 6070600"/>
              <a:gd name="connsiteX15" fmla="*/ 5220040 w 6070600"/>
              <a:gd name="connsiteY15" fmla="*/ 931334 h 6070600"/>
              <a:gd name="connsiteX16" fmla="*/ 5351649 w 6070600"/>
              <a:gd name="connsiteY16" fmla="*/ 1076140 h 6070600"/>
              <a:gd name="connsiteX17" fmla="*/ 5411013 w 6070600"/>
              <a:gd name="connsiteY17" fmla="*/ 1149404 h 6070600"/>
              <a:gd name="connsiteX18" fmla="*/ 5518492 w 6070600"/>
              <a:gd name="connsiteY18" fmla="*/ 1293133 h 6070600"/>
              <a:gd name="connsiteX19" fmla="*/ 5572142 w 6070600"/>
              <a:gd name="connsiteY19" fmla="*/ 1371030 h 6070600"/>
              <a:gd name="connsiteX20" fmla="*/ 5674235 w 6070600"/>
              <a:gd name="connsiteY20" fmla="*/ 1539081 h 6070600"/>
              <a:gd name="connsiteX21" fmla="*/ 5711243 w 6070600"/>
              <a:gd name="connsiteY21" fmla="*/ 1602999 h 6070600"/>
              <a:gd name="connsiteX22" fmla="*/ 5828486 w 6070600"/>
              <a:gd name="connsiteY22" fmla="*/ 1846382 h 6070600"/>
              <a:gd name="connsiteX23" fmla="*/ 5847251 w 6070600"/>
              <a:gd name="connsiteY23" fmla="*/ 1895299 h 6070600"/>
              <a:gd name="connsiteX24" fmla="*/ 5923089 w 6070600"/>
              <a:gd name="connsiteY24" fmla="*/ 2102503 h 6070600"/>
              <a:gd name="connsiteX25" fmla="*/ 5949298 w 6070600"/>
              <a:gd name="connsiteY25" fmla="*/ 2191649 h 6070600"/>
              <a:gd name="connsiteX26" fmla="*/ 5995703 w 6070600"/>
              <a:gd name="connsiteY26" fmla="*/ 2372124 h 6070600"/>
              <a:gd name="connsiteX27" fmla="*/ 6024462 w 6070600"/>
              <a:gd name="connsiteY27" fmla="*/ 2510537 h 6070600"/>
              <a:gd name="connsiteX28" fmla="*/ 6031283 w 6070600"/>
              <a:gd name="connsiteY28" fmla="*/ 2548729 h 6070600"/>
              <a:gd name="connsiteX29" fmla="*/ 6057844 w 6070600"/>
              <a:gd name="connsiteY29" fmla="*/ 2763290 h 6070600"/>
              <a:gd name="connsiteX30" fmla="*/ 6061300 w 6070600"/>
              <a:gd name="connsiteY30" fmla="*/ 2808740 h 6070600"/>
              <a:gd name="connsiteX31" fmla="*/ 6070600 w 6070600"/>
              <a:gd name="connsiteY31" fmla="*/ 3035300 h 6070600"/>
              <a:gd name="connsiteX32" fmla="*/ 6062723 w 6070600"/>
              <a:gd name="connsiteY32" fmla="*/ 3243146 h 6070600"/>
              <a:gd name="connsiteX33" fmla="*/ 6058818 w 6070600"/>
              <a:gd name="connsiteY33" fmla="*/ 3294506 h 6070600"/>
              <a:gd name="connsiteX34" fmla="*/ 6035627 w 6070600"/>
              <a:gd name="connsiteY34" fmla="*/ 3497545 h 6070600"/>
              <a:gd name="connsiteX35" fmla="*/ 6035627 w 6070600"/>
              <a:gd name="connsiteY35" fmla="*/ 3497546 h 6070600"/>
              <a:gd name="connsiteX36" fmla="*/ 6035626 w 6070600"/>
              <a:gd name="connsiteY36" fmla="*/ 3497550 h 6070600"/>
              <a:gd name="connsiteX37" fmla="*/ 6001364 w 6070600"/>
              <a:gd name="connsiteY37" fmla="*/ 3676459 h 6070600"/>
              <a:gd name="connsiteX38" fmla="*/ 5934139 w 6070600"/>
              <a:gd name="connsiteY38" fmla="*/ 3937906 h 6070600"/>
              <a:gd name="connsiteX39" fmla="*/ 5842195 w 6070600"/>
              <a:gd name="connsiteY39" fmla="*/ 4189117 h 6070600"/>
              <a:gd name="connsiteX40" fmla="*/ 5810609 w 6070600"/>
              <a:gd name="connsiteY40" fmla="*/ 4261328 h 6070600"/>
              <a:gd name="connsiteX41" fmla="*/ 5725424 w 6070600"/>
              <a:gd name="connsiteY41" fmla="*/ 4438163 h 6070600"/>
              <a:gd name="connsiteX42" fmla="*/ 5688952 w 6070600"/>
              <a:gd name="connsiteY42" fmla="*/ 4507296 h 6070600"/>
              <a:gd name="connsiteX43" fmla="*/ 5552219 w 6070600"/>
              <a:gd name="connsiteY43" fmla="*/ 4732365 h 6070600"/>
              <a:gd name="connsiteX44" fmla="*/ 5394921 w 6070600"/>
              <a:gd name="connsiteY44" fmla="*/ 4942717 h 6070600"/>
              <a:gd name="connsiteX45" fmla="*/ 5344783 w 6070600"/>
              <a:gd name="connsiteY45" fmla="*/ 5002015 h 6070600"/>
              <a:gd name="connsiteX46" fmla="*/ 5214216 w 6070600"/>
              <a:gd name="connsiteY46" fmla="*/ 5145674 h 6070600"/>
              <a:gd name="connsiteX47" fmla="*/ 5160026 w 6070600"/>
              <a:gd name="connsiteY47" fmla="*/ 5201173 h 6070600"/>
              <a:gd name="connsiteX48" fmla="*/ 4966033 w 6070600"/>
              <a:gd name="connsiteY48" fmla="*/ 5377485 h 6070600"/>
              <a:gd name="connsiteX49" fmla="*/ 4755837 w 6070600"/>
              <a:gd name="connsiteY49" fmla="*/ 5534667 h 6070600"/>
              <a:gd name="connsiteX50" fmla="*/ 4690842 w 6070600"/>
              <a:gd name="connsiteY50" fmla="*/ 5577445 h 6070600"/>
              <a:gd name="connsiteX51" fmla="*/ 4524051 w 6070600"/>
              <a:gd name="connsiteY51" fmla="*/ 5678773 h 6070600"/>
              <a:gd name="connsiteX52" fmla="*/ 4455737 w 6070600"/>
              <a:gd name="connsiteY52" fmla="*/ 5716958 h 6070600"/>
              <a:gd name="connsiteX53" fmla="*/ 4216777 w 6070600"/>
              <a:gd name="connsiteY53" fmla="*/ 5832071 h 6070600"/>
              <a:gd name="connsiteX54" fmla="*/ 4216776 w 6070600"/>
              <a:gd name="connsiteY54" fmla="*/ 5832071 h 6070600"/>
              <a:gd name="connsiteX55" fmla="*/ 4199821 w 6070600"/>
              <a:gd name="connsiteY55" fmla="*/ 5838277 h 6070600"/>
              <a:gd name="connsiteX56" fmla="*/ 3937906 w 6070600"/>
              <a:gd name="connsiteY56" fmla="*/ 5934139 h 6070600"/>
              <a:gd name="connsiteX57" fmla="*/ 3035300 w 6070600"/>
              <a:gd name="connsiteY57" fmla="*/ 6070600 h 6070600"/>
              <a:gd name="connsiteX58" fmla="*/ 0 w 6070600"/>
              <a:gd name="connsiteY58" fmla="*/ 3035300 h 6070600"/>
              <a:gd name="connsiteX59" fmla="*/ 3035300 w 6070600"/>
              <a:gd name="connsiteY59" fmla="*/ 0 h 607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6070600" h="6070600">
                <a:moveTo>
                  <a:pt x="3035300" y="0"/>
                </a:moveTo>
                <a:cubicBezTo>
                  <a:pt x="3244844" y="0"/>
                  <a:pt x="3449428" y="21234"/>
                  <a:pt x="3647019" y="61667"/>
                </a:cubicBezTo>
                <a:lnTo>
                  <a:pt x="3789752" y="98367"/>
                </a:lnTo>
                <a:lnTo>
                  <a:pt x="3789752" y="98367"/>
                </a:lnTo>
                <a:lnTo>
                  <a:pt x="3817989" y="105627"/>
                </a:lnTo>
                <a:lnTo>
                  <a:pt x="3937906" y="136461"/>
                </a:lnTo>
                <a:lnTo>
                  <a:pt x="4194228" y="230276"/>
                </a:lnTo>
                <a:lnTo>
                  <a:pt x="4272436" y="265342"/>
                </a:lnTo>
                <a:lnTo>
                  <a:pt x="4441383" y="346728"/>
                </a:lnTo>
                <a:lnTo>
                  <a:pt x="4526154" y="393105"/>
                </a:lnTo>
                <a:lnTo>
                  <a:pt x="4681392" y="487414"/>
                </a:lnTo>
                <a:lnTo>
                  <a:pt x="4757518" y="537190"/>
                </a:lnTo>
                <a:lnTo>
                  <a:pt x="4931089" y="666984"/>
                </a:lnTo>
                <a:lnTo>
                  <a:pt x="4972038" y="698573"/>
                </a:lnTo>
                <a:lnTo>
                  <a:pt x="5169719" y="878237"/>
                </a:lnTo>
                <a:lnTo>
                  <a:pt x="5220040" y="931334"/>
                </a:lnTo>
                <a:lnTo>
                  <a:pt x="5351649" y="1076140"/>
                </a:lnTo>
                <a:lnTo>
                  <a:pt x="5411013" y="1149404"/>
                </a:lnTo>
                <a:lnTo>
                  <a:pt x="5518492" y="1293133"/>
                </a:lnTo>
                <a:lnTo>
                  <a:pt x="5572142" y="1371030"/>
                </a:lnTo>
                <a:lnTo>
                  <a:pt x="5674235" y="1539081"/>
                </a:lnTo>
                <a:lnTo>
                  <a:pt x="5711243" y="1602999"/>
                </a:lnTo>
                <a:lnTo>
                  <a:pt x="5828486" y="1846382"/>
                </a:lnTo>
                <a:lnTo>
                  <a:pt x="5847251" y="1895299"/>
                </a:lnTo>
                <a:lnTo>
                  <a:pt x="5923089" y="2102503"/>
                </a:lnTo>
                <a:lnTo>
                  <a:pt x="5949298" y="2191649"/>
                </a:lnTo>
                <a:lnTo>
                  <a:pt x="5995703" y="2372124"/>
                </a:lnTo>
                <a:lnTo>
                  <a:pt x="6024462" y="2510537"/>
                </a:lnTo>
                <a:lnTo>
                  <a:pt x="6031283" y="2548729"/>
                </a:lnTo>
                <a:lnTo>
                  <a:pt x="6057844" y="2763290"/>
                </a:lnTo>
                <a:lnTo>
                  <a:pt x="6061300" y="2808740"/>
                </a:lnTo>
                <a:lnTo>
                  <a:pt x="6070600" y="3035300"/>
                </a:lnTo>
                <a:lnTo>
                  <a:pt x="6062723" y="3243146"/>
                </a:lnTo>
                <a:lnTo>
                  <a:pt x="6058818" y="3294506"/>
                </a:lnTo>
                <a:lnTo>
                  <a:pt x="6035627" y="3497545"/>
                </a:lnTo>
                <a:lnTo>
                  <a:pt x="6035627" y="3497546"/>
                </a:lnTo>
                <a:lnTo>
                  <a:pt x="6035626" y="3497550"/>
                </a:lnTo>
                <a:lnTo>
                  <a:pt x="6001364" y="3676459"/>
                </a:lnTo>
                <a:lnTo>
                  <a:pt x="5934139" y="3937906"/>
                </a:lnTo>
                <a:lnTo>
                  <a:pt x="5842195" y="4189117"/>
                </a:lnTo>
                <a:lnTo>
                  <a:pt x="5810609" y="4261328"/>
                </a:lnTo>
                <a:lnTo>
                  <a:pt x="5725424" y="4438163"/>
                </a:lnTo>
                <a:lnTo>
                  <a:pt x="5688952" y="4507296"/>
                </a:lnTo>
                <a:lnTo>
                  <a:pt x="5552219" y="4732365"/>
                </a:lnTo>
                <a:lnTo>
                  <a:pt x="5394921" y="4942717"/>
                </a:lnTo>
                <a:lnTo>
                  <a:pt x="5344783" y="5002015"/>
                </a:lnTo>
                <a:lnTo>
                  <a:pt x="5214216" y="5145674"/>
                </a:lnTo>
                <a:lnTo>
                  <a:pt x="5160026" y="5201173"/>
                </a:lnTo>
                <a:lnTo>
                  <a:pt x="4966033" y="5377485"/>
                </a:lnTo>
                <a:lnTo>
                  <a:pt x="4755837" y="5534667"/>
                </a:lnTo>
                <a:lnTo>
                  <a:pt x="4690842" y="5577445"/>
                </a:lnTo>
                <a:lnTo>
                  <a:pt x="4524051" y="5678773"/>
                </a:lnTo>
                <a:lnTo>
                  <a:pt x="4455737" y="5716958"/>
                </a:lnTo>
                <a:lnTo>
                  <a:pt x="4216777" y="5832071"/>
                </a:lnTo>
                <a:lnTo>
                  <a:pt x="4216776" y="5832071"/>
                </a:lnTo>
                <a:lnTo>
                  <a:pt x="4199821" y="5838277"/>
                </a:lnTo>
                <a:lnTo>
                  <a:pt x="3937906" y="5934139"/>
                </a:lnTo>
                <a:cubicBezTo>
                  <a:pt x="3652773" y="6022825"/>
                  <a:pt x="3349616" y="6070600"/>
                  <a:pt x="3035300" y="6070600"/>
                </a:cubicBezTo>
                <a:cubicBezTo>
                  <a:pt x="1358950" y="6070600"/>
                  <a:pt x="0" y="4711650"/>
                  <a:pt x="0" y="3035300"/>
                </a:cubicBezTo>
                <a:cubicBezTo>
                  <a:pt x="0" y="1358950"/>
                  <a:pt x="1358950" y="0"/>
                  <a:pt x="30353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key stat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65CAD3-E638-495B-86BB-AC828CDE2A8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60372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Alternativ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4987E5A-4AC6-4082-8355-9708308C8BD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0" y="-1"/>
            <a:ext cx="12192000" cy="6858001"/>
          </a:xfrm>
          <a:custGeom>
            <a:avLst/>
            <a:gdLst>
              <a:gd name="connsiteX0" fmla="*/ 11696741 w 12192000"/>
              <a:gd name="connsiteY0" fmla="*/ 6413786 h 6858001"/>
              <a:gd name="connsiteX1" fmla="*/ 11675409 w 12192000"/>
              <a:gd name="connsiteY1" fmla="*/ 6438944 h 6858001"/>
              <a:gd name="connsiteX2" fmla="*/ 11730040 w 12192000"/>
              <a:gd name="connsiteY2" fmla="*/ 6517531 h 6858001"/>
              <a:gd name="connsiteX3" fmla="*/ 11787273 w 12192000"/>
              <a:gd name="connsiteY3" fmla="*/ 6510528 h 6858001"/>
              <a:gd name="connsiteX4" fmla="*/ 11788053 w 12192000"/>
              <a:gd name="connsiteY4" fmla="*/ 6506379 h 6858001"/>
              <a:gd name="connsiteX5" fmla="*/ 11792216 w 12192000"/>
              <a:gd name="connsiteY5" fmla="*/ 6478367 h 6858001"/>
              <a:gd name="connsiteX6" fmla="*/ 11758396 w 12192000"/>
              <a:gd name="connsiteY6" fmla="*/ 6463843 h 6858001"/>
              <a:gd name="connsiteX7" fmla="*/ 11760738 w 12192000"/>
              <a:gd name="connsiteY7" fmla="*/ 6499895 h 6858001"/>
              <a:gd name="connsiteX8" fmla="*/ 11760738 w 12192000"/>
              <a:gd name="connsiteY8" fmla="*/ 6504304 h 6858001"/>
              <a:gd name="connsiteX9" fmla="*/ 11744088 w 12192000"/>
              <a:gd name="connsiteY9" fmla="*/ 6515456 h 6858001"/>
              <a:gd name="connsiteX10" fmla="*/ 11688156 w 12192000"/>
              <a:gd name="connsiteY10" fmla="*/ 6432460 h 6858001"/>
              <a:gd name="connsiteX11" fmla="*/ 11689457 w 12192000"/>
              <a:gd name="connsiteY11" fmla="*/ 6431164 h 6858001"/>
              <a:gd name="connsiteX12" fmla="*/ 11690237 w 12192000"/>
              <a:gd name="connsiteY12" fmla="*/ 6431682 h 6858001"/>
              <a:gd name="connsiteX13" fmla="*/ 11690498 w 12192000"/>
              <a:gd name="connsiteY13" fmla="*/ 6431682 h 6858001"/>
              <a:gd name="connsiteX14" fmla="*/ 11758136 w 12192000"/>
              <a:gd name="connsiteY14" fmla="*/ 6459175 h 6858001"/>
              <a:gd name="connsiteX15" fmla="*/ 11792476 w 12192000"/>
              <a:gd name="connsiteY15" fmla="*/ 6473958 h 6858001"/>
              <a:gd name="connsiteX16" fmla="*/ 11819531 w 12192000"/>
              <a:gd name="connsiteY16" fmla="*/ 6486926 h 6858001"/>
              <a:gd name="connsiteX17" fmla="*/ 11831758 w 12192000"/>
              <a:gd name="connsiteY17" fmla="*/ 6503785 h 6858001"/>
              <a:gd name="connsiteX18" fmla="*/ 11679831 w 12192000"/>
              <a:gd name="connsiteY18" fmla="*/ 6616867 h 6858001"/>
              <a:gd name="connsiteX19" fmla="*/ 11679311 w 12192000"/>
              <a:gd name="connsiteY19" fmla="*/ 6617386 h 6858001"/>
              <a:gd name="connsiteX20" fmla="*/ 11678271 w 12192000"/>
              <a:gd name="connsiteY20" fmla="*/ 6618942 h 6858001"/>
              <a:gd name="connsiteX21" fmla="*/ 11678010 w 12192000"/>
              <a:gd name="connsiteY21" fmla="*/ 6619461 h 6858001"/>
              <a:gd name="connsiteX22" fmla="*/ 11673328 w 12192000"/>
              <a:gd name="connsiteY22" fmla="*/ 6633725 h 6858001"/>
              <a:gd name="connsiteX23" fmla="*/ 11692319 w 12192000"/>
              <a:gd name="connsiteY23" fmla="*/ 6657587 h 6858001"/>
              <a:gd name="connsiteX24" fmla="*/ 11705066 w 12192000"/>
              <a:gd name="connsiteY24" fmla="*/ 6659921 h 6858001"/>
              <a:gd name="connsiteX25" fmla="*/ 11707667 w 12192000"/>
              <a:gd name="connsiteY25" fmla="*/ 6660180 h 6858001"/>
              <a:gd name="connsiteX26" fmla="*/ 11833840 w 12192000"/>
              <a:gd name="connsiteY26" fmla="*/ 6635282 h 6858001"/>
              <a:gd name="connsiteX27" fmla="*/ 11843465 w 12192000"/>
              <a:gd name="connsiteY27" fmla="*/ 6609086 h 6858001"/>
              <a:gd name="connsiteX28" fmla="*/ 11799500 w 12192000"/>
              <a:gd name="connsiteY28" fmla="*/ 6583409 h 6858001"/>
              <a:gd name="connsiteX29" fmla="*/ 11790135 w 12192000"/>
              <a:gd name="connsiteY29" fmla="*/ 6589634 h 6858001"/>
              <a:gd name="connsiteX30" fmla="*/ 11825255 w 12192000"/>
              <a:gd name="connsiteY30" fmla="*/ 6612976 h 6858001"/>
              <a:gd name="connsiteX31" fmla="*/ 11823434 w 12192000"/>
              <a:gd name="connsiteY31" fmla="*/ 6616608 h 6858001"/>
              <a:gd name="connsiteX32" fmla="*/ 11821092 w 12192000"/>
              <a:gd name="connsiteY32" fmla="*/ 6616608 h 6858001"/>
              <a:gd name="connsiteX33" fmla="*/ 11743568 w 12192000"/>
              <a:gd name="connsiteY33" fmla="*/ 6621795 h 6858001"/>
              <a:gd name="connsiteX34" fmla="*/ 11736284 w 12192000"/>
              <a:gd name="connsiteY34" fmla="*/ 6622054 h 6858001"/>
              <a:gd name="connsiteX35" fmla="*/ 11748251 w 12192000"/>
              <a:gd name="connsiteY35" fmla="*/ 6612458 h 6858001"/>
              <a:gd name="connsiteX36" fmla="*/ 11871301 w 12192000"/>
              <a:gd name="connsiteY36" fmla="*/ 6530240 h 6858001"/>
              <a:gd name="connsiteX37" fmla="*/ 11841124 w 12192000"/>
              <a:gd name="connsiteY37" fmla="*/ 6451912 h 6858001"/>
              <a:gd name="connsiteX38" fmla="*/ 11696741 w 12192000"/>
              <a:gd name="connsiteY38" fmla="*/ 6413786 h 6858001"/>
              <a:gd name="connsiteX39" fmla="*/ 11759176 w 12192000"/>
              <a:gd name="connsiteY39" fmla="*/ 6303891 h 6858001"/>
              <a:gd name="connsiteX40" fmla="*/ 11641467 w 12192000"/>
              <a:gd name="connsiteY40" fmla="*/ 6408732 h 6858001"/>
              <a:gd name="connsiteX41" fmla="*/ 11597457 w 12192000"/>
              <a:gd name="connsiteY41" fmla="*/ 6477501 h 6858001"/>
              <a:gd name="connsiteX42" fmla="*/ 11615946 w 12192000"/>
              <a:gd name="connsiteY42" fmla="*/ 6498261 h 6858001"/>
              <a:gd name="connsiteX43" fmla="*/ 11737041 w 12192000"/>
              <a:gd name="connsiteY43" fmla="*/ 6560802 h 6858001"/>
              <a:gd name="connsiteX44" fmla="*/ 11746676 w 12192000"/>
              <a:gd name="connsiteY44" fmla="*/ 6554834 h 6858001"/>
              <a:gd name="connsiteX45" fmla="*/ 11639384 w 12192000"/>
              <a:gd name="connsiteY45" fmla="*/ 6495666 h 6858001"/>
              <a:gd name="connsiteX46" fmla="*/ 11622717 w 12192000"/>
              <a:gd name="connsiteY46" fmla="*/ 6480096 h 6858001"/>
              <a:gd name="connsiteX47" fmla="*/ 11652405 w 12192000"/>
              <a:gd name="connsiteY47" fmla="*/ 6448955 h 6858001"/>
              <a:gd name="connsiteX48" fmla="*/ 11668811 w 12192000"/>
              <a:gd name="connsiteY48" fmla="*/ 6432606 h 6858001"/>
              <a:gd name="connsiteX49" fmla="*/ 11670895 w 12192000"/>
              <a:gd name="connsiteY49" fmla="*/ 6415738 h 6858001"/>
              <a:gd name="connsiteX50" fmla="*/ 11692249 w 12192000"/>
              <a:gd name="connsiteY50" fmla="*/ 6408991 h 6858001"/>
              <a:gd name="connsiteX51" fmla="*/ 11720374 w 12192000"/>
              <a:gd name="connsiteY51" fmla="*/ 6380705 h 6858001"/>
              <a:gd name="connsiteX52" fmla="*/ 11743291 w 12192000"/>
              <a:gd name="connsiteY52" fmla="*/ 6362799 h 6858001"/>
              <a:gd name="connsiteX53" fmla="*/ 11749801 w 12192000"/>
              <a:gd name="connsiteY53" fmla="*/ 6375255 h 6858001"/>
              <a:gd name="connsiteX54" fmla="*/ 11754749 w 12192000"/>
              <a:gd name="connsiteY54" fmla="*/ 6420669 h 6858001"/>
              <a:gd name="connsiteX55" fmla="*/ 11793812 w 12192000"/>
              <a:gd name="connsiteY55" fmla="*/ 6431568 h 6858001"/>
              <a:gd name="connsiteX56" fmla="*/ 11759176 w 12192000"/>
              <a:gd name="connsiteY56" fmla="*/ 6303891 h 6858001"/>
              <a:gd name="connsiteX57" fmla="*/ 0 w 12192000"/>
              <a:gd name="connsiteY57" fmla="*/ 0 h 6858001"/>
              <a:gd name="connsiteX58" fmla="*/ 12192000 w 12192000"/>
              <a:gd name="connsiteY58" fmla="*/ 0 h 6858001"/>
              <a:gd name="connsiteX59" fmla="*/ 12192000 w 12192000"/>
              <a:gd name="connsiteY59" fmla="*/ 6858001 h 6858001"/>
              <a:gd name="connsiteX60" fmla="*/ 0 w 12192000"/>
              <a:gd name="connsiteY60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2192000" h="6858001">
                <a:moveTo>
                  <a:pt x="11696741" y="6413786"/>
                </a:moveTo>
                <a:cubicBezTo>
                  <a:pt x="11675409" y="6410933"/>
                  <a:pt x="11666824" y="6418714"/>
                  <a:pt x="11675409" y="6438944"/>
                </a:cubicBezTo>
                <a:cubicBezTo>
                  <a:pt x="11684254" y="6458915"/>
                  <a:pt x="11706627" y="6492373"/>
                  <a:pt x="11730040" y="6517531"/>
                </a:cubicBezTo>
                <a:cubicBezTo>
                  <a:pt x="11753714" y="6542430"/>
                  <a:pt x="11779208" y="6549433"/>
                  <a:pt x="11787273" y="6510528"/>
                </a:cubicBezTo>
                <a:cubicBezTo>
                  <a:pt x="11787533" y="6509232"/>
                  <a:pt x="11787793" y="6507935"/>
                  <a:pt x="11788053" y="6506379"/>
                </a:cubicBezTo>
                <a:cubicBezTo>
                  <a:pt x="11789874" y="6496523"/>
                  <a:pt x="11791435" y="6486926"/>
                  <a:pt x="11792216" y="6478367"/>
                </a:cubicBezTo>
                <a:cubicBezTo>
                  <a:pt x="11781810" y="6473699"/>
                  <a:pt x="11770103" y="6468771"/>
                  <a:pt x="11758396" y="6463843"/>
                </a:cubicBezTo>
                <a:cubicBezTo>
                  <a:pt x="11759177" y="6472661"/>
                  <a:pt x="11760217" y="6487964"/>
                  <a:pt x="11760738" y="6499895"/>
                </a:cubicBezTo>
                <a:cubicBezTo>
                  <a:pt x="11760738" y="6501191"/>
                  <a:pt x="11760738" y="6502748"/>
                  <a:pt x="11760738" y="6504304"/>
                </a:cubicBezTo>
                <a:cubicBezTo>
                  <a:pt x="11761518" y="6523237"/>
                  <a:pt x="11755014" y="6523237"/>
                  <a:pt x="11744088" y="6515456"/>
                </a:cubicBezTo>
                <a:cubicBezTo>
                  <a:pt x="11731341" y="6506379"/>
                  <a:pt x="11692579" y="6455284"/>
                  <a:pt x="11688156" y="6432460"/>
                </a:cubicBezTo>
                <a:cubicBezTo>
                  <a:pt x="11687896" y="6431164"/>
                  <a:pt x="11688676" y="6430904"/>
                  <a:pt x="11689457" y="6431164"/>
                </a:cubicBezTo>
                <a:cubicBezTo>
                  <a:pt x="11689717" y="6431423"/>
                  <a:pt x="11689977" y="6431423"/>
                  <a:pt x="11690237" y="6431682"/>
                </a:cubicBezTo>
                <a:cubicBezTo>
                  <a:pt x="11690237" y="6431682"/>
                  <a:pt x="11690237" y="6431682"/>
                  <a:pt x="11690498" y="6431682"/>
                </a:cubicBezTo>
                <a:cubicBezTo>
                  <a:pt x="11699082" y="6435054"/>
                  <a:pt x="11728479" y="6446725"/>
                  <a:pt x="11758136" y="6459175"/>
                </a:cubicBezTo>
                <a:cubicBezTo>
                  <a:pt x="11769843" y="6464103"/>
                  <a:pt x="11781810" y="6469290"/>
                  <a:pt x="11792476" y="6473958"/>
                </a:cubicBezTo>
                <a:cubicBezTo>
                  <a:pt x="11803142" y="6478627"/>
                  <a:pt x="11812507" y="6483295"/>
                  <a:pt x="11819531" y="6486926"/>
                </a:cubicBezTo>
                <a:cubicBezTo>
                  <a:pt x="11832279" y="6493670"/>
                  <a:pt x="11837221" y="6498338"/>
                  <a:pt x="11831758" y="6503785"/>
                </a:cubicBezTo>
                <a:cubicBezTo>
                  <a:pt x="11805223" y="6531018"/>
                  <a:pt x="11711830" y="6569404"/>
                  <a:pt x="11679831" y="6616867"/>
                </a:cubicBezTo>
                <a:cubicBezTo>
                  <a:pt x="11679831" y="6616867"/>
                  <a:pt x="11679571" y="6617126"/>
                  <a:pt x="11679311" y="6617386"/>
                </a:cubicBezTo>
                <a:cubicBezTo>
                  <a:pt x="11679051" y="6617904"/>
                  <a:pt x="11678531" y="6618423"/>
                  <a:pt x="11678271" y="6618942"/>
                </a:cubicBezTo>
                <a:cubicBezTo>
                  <a:pt x="11678271" y="6619201"/>
                  <a:pt x="11678271" y="6619461"/>
                  <a:pt x="11678010" y="6619461"/>
                </a:cubicBezTo>
                <a:cubicBezTo>
                  <a:pt x="11676450" y="6622573"/>
                  <a:pt x="11674108" y="6627501"/>
                  <a:pt x="11673328" y="6633725"/>
                </a:cubicBezTo>
                <a:cubicBezTo>
                  <a:pt x="11672027" y="6644100"/>
                  <a:pt x="11677490" y="6653696"/>
                  <a:pt x="11692319" y="6657587"/>
                </a:cubicBezTo>
                <a:cubicBezTo>
                  <a:pt x="11696221" y="6658624"/>
                  <a:pt x="11700383" y="6659402"/>
                  <a:pt x="11705066" y="6659921"/>
                </a:cubicBezTo>
                <a:cubicBezTo>
                  <a:pt x="11705846" y="6660180"/>
                  <a:pt x="11706887" y="6660180"/>
                  <a:pt x="11707667" y="6660180"/>
                </a:cubicBezTo>
                <a:cubicBezTo>
                  <a:pt x="11736544" y="6661477"/>
                  <a:pt x="11811207" y="6645137"/>
                  <a:pt x="11833840" y="6635282"/>
                </a:cubicBezTo>
                <a:cubicBezTo>
                  <a:pt x="11857253" y="6624907"/>
                  <a:pt x="11850229" y="6614533"/>
                  <a:pt x="11843465" y="6609086"/>
                </a:cubicBezTo>
                <a:cubicBezTo>
                  <a:pt x="11838262" y="6604936"/>
                  <a:pt x="11812247" y="6590412"/>
                  <a:pt x="11799500" y="6583409"/>
                </a:cubicBezTo>
                <a:cubicBezTo>
                  <a:pt x="11796118" y="6585743"/>
                  <a:pt x="11793516" y="6587300"/>
                  <a:pt x="11790135" y="6589634"/>
                </a:cubicBezTo>
                <a:cubicBezTo>
                  <a:pt x="11811727" y="6602602"/>
                  <a:pt x="11820312" y="6609086"/>
                  <a:pt x="11825255" y="6612976"/>
                </a:cubicBezTo>
                <a:cubicBezTo>
                  <a:pt x="11827336" y="6614533"/>
                  <a:pt x="11826295" y="6616348"/>
                  <a:pt x="11823434" y="6616608"/>
                </a:cubicBezTo>
                <a:cubicBezTo>
                  <a:pt x="11822653" y="6616608"/>
                  <a:pt x="11821873" y="6616608"/>
                  <a:pt x="11821092" y="6616608"/>
                </a:cubicBezTo>
                <a:cubicBezTo>
                  <a:pt x="11800540" y="6618164"/>
                  <a:pt x="11761778" y="6620757"/>
                  <a:pt x="11743568" y="6621795"/>
                </a:cubicBezTo>
                <a:cubicBezTo>
                  <a:pt x="11740966" y="6622054"/>
                  <a:pt x="11737845" y="6622054"/>
                  <a:pt x="11736284" y="6622054"/>
                </a:cubicBezTo>
                <a:cubicBezTo>
                  <a:pt x="11740706" y="6617904"/>
                  <a:pt x="11745649" y="6614273"/>
                  <a:pt x="11748251" y="6612458"/>
                </a:cubicBezTo>
                <a:cubicBezTo>
                  <a:pt x="11787273" y="6584965"/>
                  <a:pt x="11852050" y="6546580"/>
                  <a:pt x="11871301" y="6530240"/>
                </a:cubicBezTo>
                <a:cubicBezTo>
                  <a:pt x="11885349" y="6518050"/>
                  <a:pt x="11923851" y="6480961"/>
                  <a:pt x="11841124" y="6451912"/>
                </a:cubicBezTo>
                <a:cubicBezTo>
                  <a:pt x="11817450" y="6443872"/>
                  <a:pt x="11758657" y="6422086"/>
                  <a:pt x="11696741" y="6413786"/>
                </a:cubicBezTo>
                <a:close/>
                <a:moveTo>
                  <a:pt x="11759176" y="6303891"/>
                </a:moveTo>
                <a:cubicBezTo>
                  <a:pt x="11739124" y="6301296"/>
                  <a:pt x="11708916" y="6326468"/>
                  <a:pt x="11641467" y="6408732"/>
                </a:cubicBezTo>
                <a:cubicBezTo>
                  <a:pt x="11628967" y="6423783"/>
                  <a:pt x="11599800" y="6460633"/>
                  <a:pt x="11597457" y="6477501"/>
                </a:cubicBezTo>
                <a:cubicBezTo>
                  <a:pt x="11595894" y="6489438"/>
                  <a:pt x="11608655" y="6494628"/>
                  <a:pt x="11615946" y="6498261"/>
                </a:cubicBezTo>
                <a:cubicBezTo>
                  <a:pt x="11622717" y="6501894"/>
                  <a:pt x="11700843" y="6540561"/>
                  <a:pt x="11737041" y="6560802"/>
                </a:cubicBezTo>
                <a:cubicBezTo>
                  <a:pt x="11740166" y="6558726"/>
                  <a:pt x="11743291" y="6556650"/>
                  <a:pt x="11746676" y="6554834"/>
                </a:cubicBezTo>
                <a:cubicBezTo>
                  <a:pt x="11725062" y="6543156"/>
                  <a:pt x="11664124" y="6510458"/>
                  <a:pt x="11639384" y="6495666"/>
                </a:cubicBezTo>
                <a:cubicBezTo>
                  <a:pt x="11629228" y="6489698"/>
                  <a:pt x="11622196" y="6484767"/>
                  <a:pt x="11622717" y="6480096"/>
                </a:cubicBezTo>
                <a:cubicBezTo>
                  <a:pt x="11623498" y="6474387"/>
                  <a:pt x="11638342" y="6462968"/>
                  <a:pt x="11652405" y="6448955"/>
                </a:cubicBezTo>
                <a:cubicBezTo>
                  <a:pt x="11656051" y="6445322"/>
                  <a:pt x="11662040" y="6439353"/>
                  <a:pt x="11668811" y="6432606"/>
                </a:cubicBezTo>
                <a:cubicBezTo>
                  <a:pt x="11666988" y="6425600"/>
                  <a:pt x="11667769" y="6419890"/>
                  <a:pt x="11670895" y="6415738"/>
                </a:cubicBezTo>
                <a:cubicBezTo>
                  <a:pt x="11674801" y="6410548"/>
                  <a:pt x="11681832" y="6408472"/>
                  <a:pt x="11692249" y="6408991"/>
                </a:cubicBezTo>
                <a:cubicBezTo>
                  <a:pt x="11705009" y="6396275"/>
                  <a:pt x="11716468" y="6384857"/>
                  <a:pt x="11720374" y="6380705"/>
                </a:cubicBezTo>
                <a:cubicBezTo>
                  <a:pt x="11729489" y="6371622"/>
                  <a:pt x="11739124" y="6362280"/>
                  <a:pt x="11743291" y="6362799"/>
                </a:cubicBezTo>
                <a:cubicBezTo>
                  <a:pt x="11746676" y="6363318"/>
                  <a:pt x="11748499" y="6366432"/>
                  <a:pt x="11749801" y="6375255"/>
                </a:cubicBezTo>
                <a:cubicBezTo>
                  <a:pt x="11750843" y="6383041"/>
                  <a:pt x="11753447" y="6405618"/>
                  <a:pt x="11754749" y="6420669"/>
                </a:cubicBezTo>
                <a:cubicBezTo>
                  <a:pt x="11768812" y="6424043"/>
                  <a:pt x="11781833" y="6427935"/>
                  <a:pt x="11793812" y="6431568"/>
                </a:cubicBezTo>
                <a:cubicBezTo>
                  <a:pt x="11792249" y="6328544"/>
                  <a:pt x="11780531" y="6306746"/>
                  <a:pt x="11759176" y="630389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close/>
              </a:path>
            </a:pathLst>
          </a:custGeom>
          <a:noFill/>
        </p:spPr>
        <p:txBody>
          <a:bodyPr wrap="square" lIns="0" tIns="0" rIns="6588000" bIns="0" anchor="ctr" anchorCtr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C36B2-DE1A-4EDF-9151-6195BF6EA0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A7F1880-4AC1-4D46-9996-85279490A2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5818" y="1"/>
            <a:ext cx="6116183" cy="5588001"/>
          </a:xfrm>
          <a:custGeom>
            <a:avLst/>
            <a:gdLst>
              <a:gd name="connsiteX0" fmla="*/ 354640 w 6116183"/>
              <a:gd name="connsiteY0" fmla="*/ 0 h 5588001"/>
              <a:gd name="connsiteX1" fmla="*/ 6116183 w 6116183"/>
              <a:gd name="connsiteY1" fmla="*/ 0 h 5588001"/>
              <a:gd name="connsiteX2" fmla="*/ 6116183 w 6116183"/>
              <a:gd name="connsiteY2" fmla="*/ 4944550 h 5588001"/>
              <a:gd name="connsiteX3" fmla="*/ 6115373 w 6116183"/>
              <a:gd name="connsiteY3" fmla="*/ 4945083 h 5588001"/>
              <a:gd name="connsiteX4" fmla="*/ 5897930 w 6116183"/>
              <a:gd name="connsiteY4" fmla="*/ 5077183 h 5588001"/>
              <a:gd name="connsiteX5" fmla="*/ 5808870 w 6116183"/>
              <a:gd name="connsiteY5" fmla="*/ 5126964 h 5588001"/>
              <a:gd name="connsiteX6" fmla="*/ 5497342 w 6116183"/>
              <a:gd name="connsiteY6" fmla="*/ 5277035 h 5588001"/>
              <a:gd name="connsiteX7" fmla="*/ 5497341 w 6116183"/>
              <a:gd name="connsiteY7" fmla="*/ 5277035 h 5588001"/>
              <a:gd name="connsiteX8" fmla="*/ 5475237 w 6116183"/>
              <a:gd name="connsiteY8" fmla="*/ 5285126 h 5588001"/>
              <a:gd name="connsiteX9" fmla="*/ 5133783 w 6116183"/>
              <a:gd name="connsiteY9" fmla="*/ 5410099 h 5588001"/>
              <a:gd name="connsiteX10" fmla="*/ 3957070 w 6116183"/>
              <a:gd name="connsiteY10" fmla="*/ 5588001 h 5588001"/>
              <a:gd name="connsiteX11" fmla="*/ 0 w 6116183"/>
              <a:gd name="connsiteY11" fmla="*/ 1630931 h 5588001"/>
              <a:gd name="connsiteX12" fmla="*/ 310966 w 6116183"/>
              <a:gd name="connsiteY12" fmla="*/ 9066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16183" h="5588001">
                <a:moveTo>
                  <a:pt x="354640" y="0"/>
                </a:moveTo>
                <a:lnTo>
                  <a:pt x="6116183" y="0"/>
                </a:lnTo>
                <a:lnTo>
                  <a:pt x="6116183" y="4944550"/>
                </a:lnTo>
                <a:lnTo>
                  <a:pt x="6115373" y="4945083"/>
                </a:lnTo>
                <a:lnTo>
                  <a:pt x="5897930" y="5077183"/>
                </a:lnTo>
                <a:lnTo>
                  <a:pt x="5808870" y="5126964"/>
                </a:lnTo>
                <a:lnTo>
                  <a:pt x="5497342" y="5277035"/>
                </a:lnTo>
                <a:lnTo>
                  <a:pt x="5497341" y="5277035"/>
                </a:lnTo>
                <a:lnTo>
                  <a:pt x="5475237" y="5285126"/>
                </a:lnTo>
                <a:lnTo>
                  <a:pt x="5133783" y="5410099"/>
                </a:lnTo>
                <a:cubicBezTo>
                  <a:pt x="4762059" y="5525718"/>
                  <a:pt x="4366839" y="5588001"/>
                  <a:pt x="3957070" y="5588001"/>
                </a:cubicBezTo>
                <a:cubicBezTo>
                  <a:pt x="1771641" y="5588001"/>
                  <a:pt x="0" y="3816361"/>
                  <a:pt x="0" y="1630931"/>
                </a:cubicBezTo>
                <a:cubicBezTo>
                  <a:pt x="0" y="1084574"/>
                  <a:pt x="110728" y="564078"/>
                  <a:pt x="310966" y="9066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576000" tIns="360000" rIns="396000" bIns="1368000" anchor="ctr" anchorCtr="0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key stat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36257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Alternativ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A19641-D30A-4DF2-BE88-21F4A0002C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993901"/>
            <a:ext cx="4570413" cy="2288540"/>
          </a:xfrm>
        </p:spPr>
        <p:txBody>
          <a:bodyPr vert="horz" lIns="0" tIns="0" rIns="0" bIns="0" rtlCol="0" anchor="ctr" anchorCtr="0">
            <a:normAutofit/>
          </a:bodyPr>
          <a:lstStyle>
            <a:lvl1pPr algn="l">
              <a:defRPr lang="en-US" sz="6000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 dirty="0"/>
              <a:t>Click to add key statem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27E92E2-B66F-49A8-A639-B009FB80E8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60132" y="0"/>
            <a:ext cx="6731869" cy="6858000"/>
          </a:xfrm>
          <a:custGeom>
            <a:avLst/>
            <a:gdLst>
              <a:gd name="connsiteX0" fmla="*/ 2376274 w 6731869"/>
              <a:gd name="connsiteY0" fmla="*/ 0 h 6858000"/>
              <a:gd name="connsiteX1" fmla="*/ 5054843 w 6731869"/>
              <a:gd name="connsiteY1" fmla="*/ 0 h 6858000"/>
              <a:gd name="connsiteX2" fmla="*/ 5161821 w 6731869"/>
              <a:gd name="connsiteY2" fmla="*/ 42383 h 6858000"/>
              <a:gd name="connsiteX3" fmla="*/ 6582663 w 6731869"/>
              <a:gd name="connsiteY3" fmla="*/ 1107621 h 6858000"/>
              <a:gd name="connsiteX4" fmla="*/ 6731869 w 6731869"/>
              <a:gd name="connsiteY4" fmla="*/ 1308112 h 6858000"/>
              <a:gd name="connsiteX5" fmla="*/ 6731869 w 6731869"/>
              <a:gd name="connsiteY5" fmla="*/ 5656777 h 6858000"/>
              <a:gd name="connsiteX6" fmla="*/ 6582663 w 6731869"/>
              <a:gd name="connsiteY6" fmla="*/ 5857268 h 6858000"/>
              <a:gd name="connsiteX7" fmla="*/ 5326406 w 6731869"/>
              <a:gd name="connsiteY7" fmla="*/ 6847739 h 6858000"/>
              <a:gd name="connsiteX8" fmla="*/ 5303818 w 6731869"/>
              <a:gd name="connsiteY8" fmla="*/ 6858000 h 6858000"/>
              <a:gd name="connsiteX9" fmla="*/ 2127298 w 6731869"/>
              <a:gd name="connsiteY9" fmla="*/ 6858000 h 6858000"/>
              <a:gd name="connsiteX10" fmla="*/ 2104710 w 6731869"/>
              <a:gd name="connsiteY10" fmla="*/ 6847739 h 6858000"/>
              <a:gd name="connsiteX11" fmla="*/ 0 w 6731869"/>
              <a:gd name="connsiteY11" fmla="*/ 3482444 h 6858000"/>
              <a:gd name="connsiteX12" fmla="*/ 2269295 w 6731869"/>
              <a:gd name="connsiteY12" fmla="*/ 423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1869" h="6858000">
                <a:moveTo>
                  <a:pt x="2376274" y="0"/>
                </a:moveTo>
                <a:lnTo>
                  <a:pt x="5054843" y="0"/>
                </a:lnTo>
                <a:lnTo>
                  <a:pt x="5161821" y="42383"/>
                </a:lnTo>
                <a:cubicBezTo>
                  <a:pt x="5717475" y="278537"/>
                  <a:pt x="6204059" y="646648"/>
                  <a:pt x="6582663" y="1107621"/>
                </a:cubicBezTo>
                <a:lnTo>
                  <a:pt x="6731869" y="1308112"/>
                </a:lnTo>
                <a:lnTo>
                  <a:pt x="6731869" y="5656777"/>
                </a:lnTo>
                <a:lnTo>
                  <a:pt x="6582663" y="5857268"/>
                </a:lnTo>
                <a:cubicBezTo>
                  <a:pt x="6241919" y="6272143"/>
                  <a:pt x="5813712" y="6611800"/>
                  <a:pt x="5326406" y="6847739"/>
                </a:cubicBezTo>
                <a:lnTo>
                  <a:pt x="5303818" y="6858000"/>
                </a:lnTo>
                <a:lnTo>
                  <a:pt x="2127298" y="6858000"/>
                </a:lnTo>
                <a:lnTo>
                  <a:pt x="2104710" y="6847739"/>
                </a:lnTo>
                <a:cubicBezTo>
                  <a:pt x="859373" y="6244784"/>
                  <a:pt x="0" y="4964456"/>
                  <a:pt x="0" y="3482444"/>
                </a:cubicBezTo>
                <a:cubicBezTo>
                  <a:pt x="0" y="1935997"/>
                  <a:pt x="935726" y="609153"/>
                  <a:pt x="2269295" y="42383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tIns="360000" bIns="68400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52269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DB7B12-48CD-451F-A1A9-30DAE6BA2E3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731869" cy="6858000"/>
          </a:xfrm>
          <a:custGeom>
            <a:avLst/>
            <a:gdLst>
              <a:gd name="connsiteX0" fmla="*/ 1677026 w 6731869"/>
              <a:gd name="connsiteY0" fmla="*/ 0 h 6858000"/>
              <a:gd name="connsiteX1" fmla="*/ 4355595 w 6731869"/>
              <a:gd name="connsiteY1" fmla="*/ 0 h 6858000"/>
              <a:gd name="connsiteX2" fmla="*/ 4462574 w 6731869"/>
              <a:gd name="connsiteY2" fmla="*/ 42383 h 6858000"/>
              <a:gd name="connsiteX3" fmla="*/ 6731869 w 6731869"/>
              <a:gd name="connsiteY3" fmla="*/ 3482444 h 6858000"/>
              <a:gd name="connsiteX4" fmla="*/ 4627159 w 6731869"/>
              <a:gd name="connsiteY4" fmla="*/ 6847739 h 6858000"/>
              <a:gd name="connsiteX5" fmla="*/ 4604571 w 6731869"/>
              <a:gd name="connsiteY5" fmla="*/ 6858000 h 6858000"/>
              <a:gd name="connsiteX6" fmla="*/ 1428051 w 6731869"/>
              <a:gd name="connsiteY6" fmla="*/ 6858000 h 6858000"/>
              <a:gd name="connsiteX7" fmla="*/ 1405463 w 6731869"/>
              <a:gd name="connsiteY7" fmla="*/ 6847739 h 6858000"/>
              <a:gd name="connsiteX8" fmla="*/ 149206 w 6731869"/>
              <a:gd name="connsiteY8" fmla="*/ 5857268 h 6858000"/>
              <a:gd name="connsiteX9" fmla="*/ 0 w 6731869"/>
              <a:gd name="connsiteY9" fmla="*/ 5656777 h 6858000"/>
              <a:gd name="connsiteX10" fmla="*/ 0 w 6731869"/>
              <a:gd name="connsiteY10" fmla="*/ 1308112 h 6858000"/>
              <a:gd name="connsiteX11" fmla="*/ 149206 w 6731869"/>
              <a:gd name="connsiteY11" fmla="*/ 1107621 h 6858000"/>
              <a:gd name="connsiteX12" fmla="*/ 1570048 w 6731869"/>
              <a:gd name="connsiteY12" fmla="*/ 423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1869" h="6858000">
                <a:moveTo>
                  <a:pt x="1677026" y="0"/>
                </a:moveTo>
                <a:lnTo>
                  <a:pt x="4355595" y="0"/>
                </a:lnTo>
                <a:lnTo>
                  <a:pt x="4462574" y="42383"/>
                </a:lnTo>
                <a:cubicBezTo>
                  <a:pt x="5796143" y="609153"/>
                  <a:pt x="6731869" y="1935997"/>
                  <a:pt x="6731869" y="3482444"/>
                </a:cubicBezTo>
                <a:cubicBezTo>
                  <a:pt x="6731869" y="4964456"/>
                  <a:pt x="5872496" y="6244784"/>
                  <a:pt x="4627159" y="6847739"/>
                </a:cubicBezTo>
                <a:lnTo>
                  <a:pt x="4604571" y="6858000"/>
                </a:lnTo>
                <a:lnTo>
                  <a:pt x="1428051" y="6858000"/>
                </a:lnTo>
                <a:lnTo>
                  <a:pt x="1405463" y="6847739"/>
                </a:lnTo>
                <a:cubicBezTo>
                  <a:pt x="918157" y="6611800"/>
                  <a:pt x="489950" y="6272143"/>
                  <a:pt x="149206" y="5857268"/>
                </a:cubicBezTo>
                <a:lnTo>
                  <a:pt x="0" y="5656777"/>
                </a:lnTo>
                <a:lnTo>
                  <a:pt x="0" y="1308112"/>
                </a:lnTo>
                <a:lnTo>
                  <a:pt x="149206" y="1107621"/>
                </a:lnTo>
                <a:cubicBezTo>
                  <a:pt x="527810" y="646648"/>
                  <a:pt x="1014394" y="278537"/>
                  <a:pt x="1570048" y="42383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tIns="360000" bIns="684000" anchor="ctr" anchorCtr="0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64A62C-74DF-483B-9317-9F19F96F45A3}"/>
              </a:ext>
            </a:extLst>
          </p:cNvPr>
          <p:cNvSpPr txBox="1"/>
          <p:nvPr userDrawn="1"/>
        </p:nvSpPr>
        <p:spPr>
          <a:xfrm>
            <a:off x="6731870" y="2967335"/>
            <a:ext cx="50521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60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hank you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38602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A9E1CF1C-7FA2-4710-BBC2-1C5B7B5AB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3520" y="0"/>
            <a:ext cx="9204960" cy="6858000"/>
          </a:xfrm>
          <a:custGeom>
            <a:avLst/>
            <a:gdLst>
              <a:gd name="connsiteX0" fmla="*/ 1600111 w 9204960"/>
              <a:gd name="connsiteY0" fmla="*/ 0 h 6858000"/>
              <a:gd name="connsiteX1" fmla="*/ 7604849 w 9204960"/>
              <a:gd name="connsiteY1" fmla="*/ 0 h 6858000"/>
              <a:gd name="connsiteX2" fmla="*/ 7697084 w 9204960"/>
              <a:gd name="connsiteY2" fmla="*/ 79896 h 6858000"/>
              <a:gd name="connsiteX3" fmla="*/ 9204960 w 9204960"/>
              <a:gd name="connsiteY3" fmla="*/ 3486735 h 6858000"/>
              <a:gd name="connsiteX4" fmla="*/ 7856925 w 9204960"/>
              <a:gd name="connsiteY4" fmla="*/ 6741180 h 6858000"/>
              <a:gd name="connsiteX5" fmla="*/ 7734397 w 9204960"/>
              <a:gd name="connsiteY5" fmla="*/ 6858000 h 6858000"/>
              <a:gd name="connsiteX6" fmla="*/ 1470564 w 9204960"/>
              <a:gd name="connsiteY6" fmla="*/ 6858000 h 6858000"/>
              <a:gd name="connsiteX7" fmla="*/ 1348035 w 9204960"/>
              <a:gd name="connsiteY7" fmla="*/ 6741180 h 6858000"/>
              <a:gd name="connsiteX8" fmla="*/ 0 w 9204960"/>
              <a:gd name="connsiteY8" fmla="*/ 3486735 h 6858000"/>
              <a:gd name="connsiteX9" fmla="*/ 1507876 w 9204960"/>
              <a:gd name="connsiteY9" fmla="*/ 79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04960" h="6858000">
                <a:moveTo>
                  <a:pt x="1600111" y="0"/>
                </a:moveTo>
                <a:lnTo>
                  <a:pt x="7604849" y="0"/>
                </a:lnTo>
                <a:lnTo>
                  <a:pt x="7697084" y="79896"/>
                </a:lnTo>
                <a:cubicBezTo>
                  <a:pt x="8623404" y="921818"/>
                  <a:pt x="9204960" y="2136361"/>
                  <a:pt x="9204960" y="3486735"/>
                </a:cubicBezTo>
                <a:cubicBezTo>
                  <a:pt x="9204960" y="4757675"/>
                  <a:pt x="8689810" y="5908295"/>
                  <a:pt x="7856925" y="6741180"/>
                </a:cubicBezTo>
                <a:lnTo>
                  <a:pt x="7734397" y="6858000"/>
                </a:lnTo>
                <a:lnTo>
                  <a:pt x="1470564" y="6858000"/>
                </a:lnTo>
                <a:lnTo>
                  <a:pt x="1348035" y="6741180"/>
                </a:lnTo>
                <a:cubicBezTo>
                  <a:pt x="515150" y="5908295"/>
                  <a:pt x="0" y="4757675"/>
                  <a:pt x="0" y="3486735"/>
                </a:cubicBezTo>
                <a:cubicBezTo>
                  <a:pt x="0" y="2136361"/>
                  <a:pt x="581556" y="921818"/>
                  <a:pt x="1507876" y="7989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1044000" tIns="1440000" rIns="1044000" bIns="2268000" anchor="ctr" anchorCtr="0">
            <a:noAutofit/>
          </a:bodyPr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F1B5E0-FD79-4230-B3D0-006D6BDCBC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4057" y="4747984"/>
            <a:ext cx="4963886" cy="1086751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1964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447ADDD-920E-4BEB-819B-9759B3CF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5562601" cy="6858000"/>
          </a:xfrm>
          <a:custGeom>
            <a:avLst/>
            <a:gdLst>
              <a:gd name="connsiteX0" fmla="*/ 0 w 5562601"/>
              <a:gd name="connsiteY0" fmla="*/ 0 h 6858000"/>
              <a:gd name="connsiteX1" fmla="*/ 3124199 w 5562601"/>
              <a:gd name="connsiteY1" fmla="*/ 0 h 6858000"/>
              <a:gd name="connsiteX2" fmla="*/ 3694793 w 5562601"/>
              <a:gd name="connsiteY2" fmla="*/ 0 h 6858000"/>
              <a:gd name="connsiteX3" fmla="*/ 3762493 w 5562601"/>
              <a:gd name="connsiteY3" fmla="*/ 43402 h 6858000"/>
              <a:gd name="connsiteX4" fmla="*/ 5562601 w 5562601"/>
              <a:gd name="connsiteY4" fmla="*/ 3429000 h 6858000"/>
              <a:gd name="connsiteX5" fmla="*/ 3762493 w 5562601"/>
              <a:gd name="connsiteY5" fmla="*/ 6814598 h 6858000"/>
              <a:gd name="connsiteX6" fmla="*/ 3694792 w 5562601"/>
              <a:gd name="connsiteY6" fmla="*/ 6858000 h 6858000"/>
              <a:gd name="connsiteX7" fmla="*/ 0 w 5562601"/>
              <a:gd name="connsiteY7" fmla="*/ 6858000 h 6858000"/>
              <a:gd name="connsiteX8" fmla="*/ 0 w 5562601"/>
              <a:gd name="connsiteY8" fmla="*/ 26016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2601" h="6858000">
                <a:moveTo>
                  <a:pt x="0" y="0"/>
                </a:moveTo>
                <a:lnTo>
                  <a:pt x="3124199" y="0"/>
                </a:lnTo>
                <a:lnTo>
                  <a:pt x="3694793" y="0"/>
                </a:lnTo>
                <a:lnTo>
                  <a:pt x="3762493" y="43402"/>
                </a:lnTo>
                <a:cubicBezTo>
                  <a:pt x="4848549" y="777127"/>
                  <a:pt x="5562601" y="2019676"/>
                  <a:pt x="5562601" y="3429000"/>
                </a:cubicBezTo>
                <a:cubicBezTo>
                  <a:pt x="5562601" y="4838325"/>
                  <a:pt x="4848549" y="6080873"/>
                  <a:pt x="3762493" y="6814598"/>
                </a:cubicBezTo>
                <a:lnTo>
                  <a:pt x="3694792" y="6858000"/>
                </a:lnTo>
                <a:lnTo>
                  <a:pt x="0" y="6858000"/>
                </a:lnTo>
                <a:lnTo>
                  <a:pt x="0" y="260168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2160000" bIns="2880000"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</a:t>
            </a:r>
            <a:br>
              <a:rPr lang="en-US" dirty="0"/>
            </a:br>
            <a:r>
              <a:rPr lang="en-US" dirty="0"/>
              <a:t>section title here</a:t>
            </a:r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9A77974F-FF01-4E3F-957B-CC5A44F8CE16}"/>
              </a:ext>
            </a:extLst>
          </p:cNvPr>
          <p:cNvSpPr txBox="1">
            <a:spLocks/>
          </p:cNvSpPr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0AE4F3-AAA3-4B8D-A01A-1FF9B8F9F4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095" y="863767"/>
            <a:ext cx="1203158" cy="1203158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60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758FA1-2B23-4C7E-97FD-FBA94AB3853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626" y="4267200"/>
            <a:ext cx="3678918" cy="189664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subtitle / presenter name(s)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486192A-3DB1-49EB-9B2C-D5E68AF24B1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792" y="-1"/>
            <a:ext cx="8497208" cy="6858001"/>
          </a:xfrm>
          <a:custGeom>
            <a:avLst/>
            <a:gdLst>
              <a:gd name="connsiteX0" fmla="*/ 8001617 w 8497208"/>
              <a:gd name="connsiteY0" fmla="*/ 6414717 h 6858001"/>
              <a:gd name="connsiteX1" fmla="*/ 7980570 w 8497208"/>
              <a:gd name="connsiteY1" fmla="*/ 6439539 h 6858001"/>
              <a:gd name="connsiteX2" fmla="*/ 8034470 w 8497208"/>
              <a:gd name="connsiteY2" fmla="*/ 6517076 h 6858001"/>
              <a:gd name="connsiteX3" fmla="*/ 8090937 w 8497208"/>
              <a:gd name="connsiteY3" fmla="*/ 6510166 h 6858001"/>
              <a:gd name="connsiteX4" fmla="*/ 8091707 w 8497208"/>
              <a:gd name="connsiteY4" fmla="*/ 6506072 h 6858001"/>
              <a:gd name="connsiteX5" fmla="*/ 8095814 w 8497208"/>
              <a:gd name="connsiteY5" fmla="*/ 6478435 h 6858001"/>
              <a:gd name="connsiteX6" fmla="*/ 8062447 w 8497208"/>
              <a:gd name="connsiteY6" fmla="*/ 6464105 h 6858001"/>
              <a:gd name="connsiteX7" fmla="*/ 8064757 w 8497208"/>
              <a:gd name="connsiteY7" fmla="*/ 6499675 h 6858001"/>
              <a:gd name="connsiteX8" fmla="*/ 8064757 w 8497208"/>
              <a:gd name="connsiteY8" fmla="*/ 6504025 h 6858001"/>
              <a:gd name="connsiteX9" fmla="*/ 8048330 w 8497208"/>
              <a:gd name="connsiteY9" fmla="*/ 6515029 h 6858001"/>
              <a:gd name="connsiteX10" fmla="*/ 7993147 w 8497208"/>
              <a:gd name="connsiteY10" fmla="*/ 6433142 h 6858001"/>
              <a:gd name="connsiteX11" fmla="*/ 7994430 w 8497208"/>
              <a:gd name="connsiteY11" fmla="*/ 6431862 h 6858001"/>
              <a:gd name="connsiteX12" fmla="*/ 7995200 w 8497208"/>
              <a:gd name="connsiteY12" fmla="*/ 6432374 h 6858001"/>
              <a:gd name="connsiteX13" fmla="*/ 7995457 w 8497208"/>
              <a:gd name="connsiteY13" fmla="*/ 6432374 h 6858001"/>
              <a:gd name="connsiteX14" fmla="*/ 8062190 w 8497208"/>
              <a:gd name="connsiteY14" fmla="*/ 6459499 h 6858001"/>
              <a:gd name="connsiteX15" fmla="*/ 8096071 w 8497208"/>
              <a:gd name="connsiteY15" fmla="*/ 6474085 h 6858001"/>
              <a:gd name="connsiteX16" fmla="*/ 8122764 w 8497208"/>
              <a:gd name="connsiteY16" fmla="*/ 6486880 h 6858001"/>
              <a:gd name="connsiteX17" fmla="*/ 8134828 w 8497208"/>
              <a:gd name="connsiteY17" fmla="*/ 6503513 h 6858001"/>
              <a:gd name="connsiteX18" fmla="*/ 7984933 w 8497208"/>
              <a:gd name="connsiteY18" fmla="*/ 6615084 h 6858001"/>
              <a:gd name="connsiteX19" fmla="*/ 7984420 w 8497208"/>
              <a:gd name="connsiteY19" fmla="*/ 6615596 h 6858001"/>
              <a:gd name="connsiteX20" fmla="*/ 7983393 w 8497208"/>
              <a:gd name="connsiteY20" fmla="*/ 6617131 h 6858001"/>
              <a:gd name="connsiteX21" fmla="*/ 7983137 w 8497208"/>
              <a:gd name="connsiteY21" fmla="*/ 6617643 h 6858001"/>
              <a:gd name="connsiteX22" fmla="*/ 7978517 w 8497208"/>
              <a:gd name="connsiteY22" fmla="*/ 6631717 h 6858001"/>
              <a:gd name="connsiteX23" fmla="*/ 7997253 w 8497208"/>
              <a:gd name="connsiteY23" fmla="*/ 6655260 h 6858001"/>
              <a:gd name="connsiteX24" fmla="*/ 8009830 w 8497208"/>
              <a:gd name="connsiteY24" fmla="*/ 6657563 h 6858001"/>
              <a:gd name="connsiteX25" fmla="*/ 8012397 w 8497208"/>
              <a:gd name="connsiteY25" fmla="*/ 6657819 h 6858001"/>
              <a:gd name="connsiteX26" fmla="*/ 8136881 w 8497208"/>
              <a:gd name="connsiteY26" fmla="*/ 6633253 h 6858001"/>
              <a:gd name="connsiteX27" fmla="*/ 8146378 w 8497208"/>
              <a:gd name="connsiteY27" fmla="*/ 6607407 h 6858001"/>
              <a:gd name="connsiteX28" fmla="*/ 8103001 w 8497208"/>
              <a:gd name="connsiteY28" fmla="*/ 6582073 h 6858001"/>
              <a:gd name="connsiteX29" fmla="*/ 8093761 w 8497208"/>
              <a:gd name="connsiteY29" fmla="*/ 6588215 h 6858001"/>
              <a:gd name="connsiteX30" fmla="*/ 8128411 w 8497208"/>
              <a:gd name="connsiteY30" fmla="*/ 6611246 h 6858001"/>
              <a:gd name="connsiteX31" fmla="*/ 8126614 w 8497208"/>
              <a:gd name="connsiteY31" fmla="*/ 6614828 h 6858001"/>
              <a:gd name="connsiteX32" fmla="*/ 8124304 w 8497208"/>
              <a:gd name="connsiteY32" fmla="*/ 6614828 h 6858001"/>
              <a:gd name="connsiteX33" fmla="*/ 8047817 w 8497208"/>
              <a:gd name="connsiteY33" fmla="*/ 6619946 h 6858001"/>
              <a:gd name="connsiteX34" fmla="*/ 8040630 w 8497208"/>
              <a:gd name="connsiteY34" fmla="*/ 6620202 h 6858001"/>
              <a:gd name="connsiteX35" fmla="*/ 8052437 w 8497208"/>
              <a:gd name="connsiteY35" fmla="*/ 6610734 h 6858001"/>
              <a:gd name="connsiteX36" fmla="*/ 8173841 w 8497208"/>
              <a:gd name="connsiteY36" fmla="*/ 6529615 h 6858001"/>
              <a:gd name="connsiteX37" fmla="*/ 8144068 w 8497208"/>
              <a:gd name="connsiteY37" fmla="*/ 6452334 h 6858001"/>
              <a:gd name="connsiteX38" fmla="*/ 8001617 w 8497208"/>
              <a:gd name="connsiteY38" fmla="*/ 6414717 h 6858001"/>
              <a:gd name="connsiteX39" fmla="*/ 8063182 w 8497208"/>
              <a:gd name="connsiteY39" fmla="*/ 6306559 h 6858001"/>
              <a:gd name="connsiteX40" fmla="*/ 7947246 w 8497208"/>
              <a:gd name="connsiteY40" fmla="*/ 6409920 h 6858001"/>
              <a:gd name="connsiteX41" fmla="*/ 7903898 w 8497208"/>
              <a:gd name="connsiteY41" fmla="*/ 6477718 h 6858001"/>
              <a:gd name="connsiteX42" fmla="*/ 7922109 w 8497208"/>
              <a:gd name="connsiteY42" fmla="*/ 6498186 h 6858001"/>
              <a:gd name="connsiteX43" fmla="*/ 8041380 w 8497208"/>
              <a:gd name="connsiteY43" fmla="*/ 6559844 h 6858001"/>
              <a:gd name="connsiteX44" fmla="*/ 8050870 w 8497208"/>
              <a:gd name="connsiteY44" fmla="*/ 6553960 h 6858001"/>
              <a:gd name="connsiteX45" fmla="*/ 7945194 w 8497208"/>
              <a:gd name="connsiteY45" fmla="*/ 6495627 h 6858001"/>
              <a:gd name="connsiteX46" fmla="*/ 7928778 w 8497208"/>
              <a:gd name="connsiteY46" fmla="*/ 6480277 h 6858001"/>
              <a:gd name="connsiteX47" fmla="*/ 7958019 w 8497208"/>
              <a:gd name="connsiteY47" fmla="*/ 6449575 h 6858001"/>
              <a:gd name="connsiteX48" fmla="*/ 7974178 w 8497208"/>
              <a:gd name="connsiteY48" fmla="*/ 6433457 h 6858001"/>
              <a:gd name="connsiteX49" fmla="*/ 7976230 w 8497208"/>
              <a:gd name="connsiteY49" fmla="*/ 6416827 h 6858001"/>
              <a:gd name="connsiteX50" fmla="*/ 7997263 w 8497208"/>
              <a:gd name="connsiteY50" fmla="*/ 6410176 h 6858001"/>
              <a:gd name="connsiteX51" fmla="*/ 8024964 w 8497208"/>
              <a:gd name="connsiteY51" fmla="*/ 6382289 h 6858001"/>
              <a:gd name="connsiteX52" fmla="*/ 8047536 w 8497208"/>
              <a:gd name="connsiteY52" fmla="*/ 6364635 h 6858001"/>
              <a:gd name="connsiteX53" fmla="*/ 8053948 w 8497208"/>
              <a:gd name="connsiteY53" fmla="*/ 6376916 h 6858001"/>
              <a:gd name="connsiteX54" fmla="*/ 8058822 w 8497208"/>
              <a:gd name="connsiteY54" fmla="*/ 6421688 h 6858001"/>
              <a:gd name="connsiteX55" fmla="*/ 8097296 w 8497208"/>
              <a:gd name="connsiteY55" fmla="*/ 6432434 h 6858001"/>
              <a:gd name="connsiteX56" fmla="*/ 8063182 w 8497208"/>
              <a:gd name="connsiteY56" fmla="*/ 6306559 h 6858001"/>
              <a:gd name="connsiteX57" fmla="*/ 4802415 w 8497208"/>
              <a:gd name="connsiteY57" fmla="*/ 0 h 6858001"/>
              <a:gd name="connsiteX58" fmla="*/ 5373009 w 8497208"/>
              <a:gd name="connsiteY58" fmla="*/ 0 h 6858001"/>
              <a:gd name="connsiteX59" fmla="*/ 8497208 w 8497208"/>
              <a:gd name="connsiteY59" fmla="*/ 0 h 6858001"/>
              <a:gd name="connsiteX60" fmla="*/ 8497208 w 8497208"/>
              <a:gd name="connsiteY60" fmla="*/ 1 h 6858001"/>
              <a:gd name="connsiteX61" fmla="*/ 8497208 w 8497208"/>
              <a:gd name="connsiteY61" fmla="*/ 2601686 h 6858001"/>
              <a:gd name="connsiteX62" fmla="*/ 8497208 w 8497208"/>
              <a:gd name="connsiteY62" fmla="*/ 6858000 h 6858001"/>
              <a:gd name="connsiteX63" fmla="*/ 8497208 w 8497208"/>
              <a:gd name="connsiteY63" fmla="*/ 6858001 h 6858001"/>
              <a:gd name="connsiteX64" fmla="*/ 0 w 8497208"/>
              <a:gd name="connsiteY64" fmla="*/ 6858001 h 6858001"/>
              <a:gd name="connsiteX65" fmla="*/ 67701 w 8497208"/>
              <a:gd name="connsiteY65" fmla="*/ 6814599 h 6858001"/>
              <a:gd name="connsiteX66" fmla="*/ 1867809 w 8497208"/>
              <a:gd name="connsiteY66" fmla="*/ 3429001 h 6858001"/>
              <a:gd name="connsiteX67" fmla="*/ 67701 w 8497208"/>
              <a:gd name="connsiteY67" fmla="*/ 43403 h 6858001"/>
              <a:gd name="connsiteX68" fmla="*/ 1 w 8497208"/>
              <a:gd name="connsiteY68" fmla="*/ 1 h 6858001"/>
              <a:gd name="connsiteX69" fmla="*/ 4802413 w 8497208"/>
              <a:gd name="connsiteY69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497208" h="6858001">
                <a:moveTo>
                  <a:pt x="8001617" y="6414717"/>
                </a:moveTo>
                <a:cubicBezTo>
                  <a:pt x="7980570" y="6411902"/>
                  <a:pt x="7972100" y="6419579"/>
                  <a:pt x="7980570" y="6439539"/>
                </a:cubicBezTo>
                <a:cubicBezTo>
                  <a:pt x="7989297" y="6459243"/>
                  <a:pt x="8011370" y="6492254"/>
                  <a:pt x="8034470" y="6517076"/>
                </a:cubicBezTo>
                <a:cubicBezTo>
                  <a:pt x="8057827" y="6541642"/>
                  <a:pt x="8082981" y="6548551"/>
                  <a:pt x="8090937" y="6510166"/>
                </a:cubicBezTo>
                <a:cubicBezTo>
                  <a:pt x="8091194" y="6508887"/>
                  <a:pt x="8091451" y="6507608"/>
                  <a:pt x="8091707" y="6506072"/>
                </a:cubicBezTo>
                <a:cubicBezTo>
                  <a:pt x="8093504" y="6496348"/>
                  <a:pt x="8095044" y="6486880"/>
                  <a:pt x="8095814" y="6478435"/>
                </a:cubicBezTo>
                <a:cubicBezTo>
                  <a:pt x="8085547" y="6473829"/>
                  <a:pt x="8073997" y="6468967"/>
                  <a:pt x="8062447" y="6464105"/>
                </a:cubicBezTo>
                <a:cubicBezTo>
                  <a:pt x="8063217" y="6472806"/>
                  <a:pt x="8064244" y="6487904"/>
                  <a:pt x="8064757" y="6499675"/>
                </a:cubicBezTo>
                <a:cubicBezTo>
                  <a:pt x="8064757" y="6500954"/>
                  <a:pt x="8064757" y="6502490"/>
                  <a:pt x="8064757" y="6504025"/>
                </a:cubicBezTo>
                <a:cubicBezTo>
                  <a:pt x="8065527" y="6522705"/>
                  <a:pt x="8059110" y="6522705"/>
                  <a:pt x="8048330" y="6515029"/>
                </a:cubicBezTo>
                <a:cubicBezTo>
                  <a:pt x="8035754" y="6506072"/>
                  <a:pt x="7997510" y="6455661"/>
                  <a:pt x="7993147" y="6433142"/>
                </a:cubicBezTo>
                <a:cubicBezTo>
                  <a:pt x="7992890" y="6431862"/>
                  <a:pt x="7993660" y="6431606"/>
                  <a:pt x="7994430" y="6431862"/>
                </a:cubicBezTo>
                <a:cubicBezTo>
                  <a:pt x="7994687" y="6432118"/>
                  <a:pt x="7994943" y="6432118"/>
                  <a:pt x="7995200" y="6432374"/>
                </a:cubicBezTo>
                <a:cubicBezTo>
                  <a:pt x="7995200" y="6432374"/>
                  <a:pt x="7995200" y="6432374"/>
                  <a:pt x="7995457" y="6432374"/>
                </a:cubicBezTo>
                <a:cubicBezTo>
                  <a:pt x="8003927" y="6435701"/>
                  <a:pt x="8032930" y="6447216"/>
                  <a:pt x="8062190" y="6459499"/>
                </a:cubicBezTo>
                <a:cubicBezTo>
                  <a:pt x="8073741" y="6464361"/>
                  <a:pt x="8085547" y="6469479"/>
                  <a:pt x="8096071" y="6474085"/>
                </a:cubicBezTo>
                <a:cubicBezTo>
                  <a:pt x="8106594" y="6478691"/>
                  <a:pt x="8115834" y="6483297"/>
                  <a:pt x="8122764" y="6486880"/>
                </a:cubicBezTo>
                <a:cubicBezTo>
                  <a:pt x="8135341" y="6493533"/>
                  <a:pt x="8140218" y="6498139"/>
                  <a:pt x="8134828" y="6503513"/>
                </a:cubicBezTo>
                <a:cubicBezTo>
                  <a:pt x="8108647" y="6530382"/>
                  <a:pt x="8016504" y="6568255"/>
                  <a:pt x="7984933" y="6615084"/>
                </a:cubicBezTo>
                <a:cubicBezTo>
                  <a:pt x="7984933" y="6615084"/>
                  <a:pt x="7984677" y="6615340"/>
                  <a:pt x="7984420" y="6615596"/>
                </a:cubicBezTo>
                <a:cubicBezTo>
                  <a:pt x="7984163" y="6616108"/>
                  <a:pt x="7983650" y="6616619"/>
                  <a:pt x="7983393" y="6617131"/>
                </a:cubicBezTo>
                <a:cubicBezTo>
                  <a:pt x="7983393" y="6617387"/>
                  <a:pt x="7983393" y="6617643"/>
                  <a:pt x="7983137" y="6617643"/>
                </a:cubicBezTo>
                <a:cubicBezTo>
                  <a:pt x="7981597" y="6620714"/>
                  <a:pt x="7979287" y="6625576"/>
                  <a:pt x="7978517" y="6631717"/>
                </a:cubicBezTo>
                <a:cubicBezTo>
                  <a:pt x="7977233" y="6641953"/>
                  <a:pt x="7982623" y="6651421"/>
                  <a:pt x="7997253" y="6655260"/>
                </a:cubicBezTo>
                <a:cubicBezTo>
                  <a:pt x="8001103" y="6656283"/>
                  <a:pt x="8005210" y="6657051"/>
                  <a:pt x="8009830" y="6657563"/>
                </a:cubicBezTo>
                <a:cubicBezTo>
                  <a:pt x="8010600" y="6657819"/>
                  <a:pt x="8011627" y="6657819"/>
                  <a:pt x="8012397" y="6657819"/>
                </a:cubicBezTo>
                <a:cubicBezTo>
                  <a:pt x="8040887" y="6659098"/>
                  <a:pt x="8114551" y="6642977"/>
                  <a:pt x="8136881" y="6633253"/>
                </a:cubicBezTo>
                <a:cubicBezTo>
                  <a:pt x="8159981" y="6623017"/>
                  <a:pt x="8153051" y="6612781"/>
                  <a:pt x="8146378" y="6607407"/>
                </a:cubicBezTo>
                <a:cubicBezTo>
                  <a:pt x="8141244" y="6603313"/>
                  <a:pt x="8115577" y="6588983"/>
                  <a:pt x="8103001" y="6582073"/>
                </a:cubicBezTo>
                <a:cubicBezTo>
                  <a:pt x="8099664" y="6584376"/>
                  <a:pt x="8097097" y="6585912"/>
                  <a:pt x="8093761" y="6588215"/>
                </a:cubicBezTo>
                <a:cubicBezTo>
                  <a:pt x="8115064" y="6601010"/>
                  <a:pt x="8123534" y="6607407"/>
                  <a:pt x="8128411" y="6611246"/>
                </a:cubicBezTo>
                <a:cubicBezTo>
                  <a:pt x="8130464" y="6612781"/>
                  <a:pt x="8129438" y="6614572"/>
                  <a:pt x="8126614" y="6614828"/>
                </a:cubicBezTo>
                <a:cubicBezTo>
                  <a:pt x="8125844" y="6614828"/>
                  <a:pt x="8125074" y="6614828"/>
                  <a:pt x="8124304" y="6614828"/>
                </a:cubicBezTo>
                <a:cubicBezTo>
                  <a:pt x="8104027" y="6616364"/>
                  <a:pt x="8065784" y="6618922"/>
                  <a:pt x="8047817" y="6619946"/>
                </a:cubicBezTo>
                <a:cubicBezTo>
                  <a:pt x="8045250" y="6620202"/>
                  <a:pt x="8042170" y="6620202"/>
                  <a:pt x="8040630" y="6620202"/>
                </a:cubicBezTo>
                <a:cubicBezTo>
                  <a:pt x="8044994" y="6616108"/>
                  <a:pt x="8049870" y="6612525"/>
                  <a:pt x="8052437" y="6610734"/>
                </a:cubicBezTo>
                <a:cubicBezTo>
                  <a:pt x="8090937" y="6583609"/>
                  <a:pt x="8154848" y="6545736"/>
                  <a:pt x="8173841" y="6529615"/>
                </a:cubicBezTo>
                <a:cubicBezTo>
                  <a:pt x="8187701" y="6517587"/>
                  <a:pt x="8225688" y="6480994"/>
                  <a:pt x="8144068" y="6452334"/>
                </a:cubicBezTo>
                <a:cubicBezTo>
                  <a:pt x="8120711" y="6444401"/>
                  <a:pt x="8062704" y="6422906"/>
                  <a:pt x="8001617" y="6414717"/>
                </a:cubicBezTo>
                <a:close/>
                <a:moveTo>
                  <a:pt x="8063182" y="6306559"/>
                </a:moveTo>
                <a:cubicBezTo>
                  <a:pt x="8043432" y="6304000"/>
                  <a:pt x="8013678" y="6328817"/>
                  <a:pt x="7947246" y="6409920"/>
                </a:cubicBezTo>
                <a:cubicBezTo>
                  <a:pt x="7934934" y="6424759"/>
                  <a:pt x="7906206" y="6461088"/>
                  <a:pt x="7903898" y="6477718"/>
                </a:cubicBezTo>
                <a:cubicBezTo>
                  <a:pt x="7902359" y="6489487"/>
                  <a:pt x="7914927" y="6494604"/>
                  <a:pt x="7922109" y="6498186"/>
                </a:cubicBezTo>
                <a:cubicBezTo>
                  <a:pt x="7928778" y="6501768"/>
                  <a:pt x="8005727" y="6539888"/>
                  <a:pt x="8041380" y="6559844"/>
                </a:cubicBezTo>
                <a:cubicBezTo>
                  <a:pt x="8044458" y="6557797"/>
                  <a:pt x="8047536" y="6555751"/>
                  <a:pt x="8050870" y="6553960"/>
                </a:cubicBezTo>
                <a:cubicBezTo>
                  <a:pt x="8029581" y="6542447"/>
                  <a:pt x="7969561" y="6510211"/>
                  <a:pt x="7945194" y="6495627"/>
                </a:cubicBezTo>
                <a:cubicBezTo>
                  <a:pt x="7935190" y="6489743"/>
                  <a:pt x="7928265" y="6484882"/>
                  <a:pt x="7928778" y="6480277"/>
                </a:cubicBezTo>
                <a:cubicBezTo>
                  <a:pt x="7929548" y="6474648"/>
                  <a:pt x="7944168" y="6463391"/>
                  <a:pt x="7958019" y="6449575"/>
                </a:cubicBezTo>
                <a:cubicBezTo>
                  <a:pt x="7961610" y="6445994"/>
                  <a:pt x="7967509" y="6440109"/>
                  <a:pt x="7974178" y="6433457"/>
                </a:cubicBezTo>
                <a:cubicBezTo>
                  <a:pt x="7972382" y="6426550"/>
                  <a:pt x="7973152" y="6420921"/>
                  <a:pt x="7976230" y="6416827"/>
                </a:cubicBezTo>
                <a:cubicBezTo>
                  <a:pt x="7980077" y="6411711"/>
                  <a:pt x="7987003" y="6409664"/>
                  <a:pt x="7997263" y="6410176"/>
                </a:cubicBezTo>
                <a:cubicBezTo>
                  <a:pt x="8009831" y="6397639"/>
                  <a:pt x="8021117" y="6386382"/>
                  <a:pt x="8024964" y="6382289"/>
                </a:cubicBezTo>
                <a:cubicBezTo>
                  <a:pt x="8033941" y="6373334"/>
                  <a:pt x="8043432" y="6364124"/>
                  <a:pt x="8047536" y="6364635"/>
                </a:cubicBezTo>
                <a:cubicBezTo>
                  <a:pt x="8050870" y="6365147"/>
                  <a:pt x="8052666" y="6368217"/>
                  <a:pt x="8053948" y="6376916"/>
                </a:cubicBezTo>
                <a:cubicBezTo>
                  <a:pt x="8054974" y="6384591"/>
                  <a:pt x="8057539" y="6406850"/>
                  <a:pt x="8058822" y="6421688"/>
                </a:cubicBezTo>
                <a:cubicBezTo>
                  <a:pt x="8072672" y="6425014"/>
                  <a:pt x="8085497" y="6428852"/>
                  <a:pt x="8097296" y="6432434"/>
                </a:cubicBezTo>
                <a:cubicBezTo>
                  <a:pt x="8095757" y="6330864"/>
                  <a:pt x="8084215" y="6309373"/>
                  <a:pt x="8063182" y="6306559"/>
                </a:cubicBezTo>
                <a:close/>
                <a:moveTo>
                  <a:pt x="4802415" y="0"/>
                </a:moveTo>
                <a:lnTo>
                  <a:pt x="5373009" y="0"/>
                </a:lnTo>
                <a:lnTo>
                  <a:pt x="8497208" y="0"/>
                </a:lnTo>
                <a:lnTo>
                  <a:pt x="8497208" y="1"/>
                </a:lnTo>
                <a:lnTo>
                  <a:pt x="8497208" y="2601686"/>
                </a:lnTo>
                <a:lnTo>
                  <a:pt x="8497208" y="6858000"/>
                </a:lnTo>
                <a:lnTo>
                  <a:pt x="8497208" y="6858001"/>
                </a:lnTo>
                <a:lnTo>
                  <a:pt x="0" y="6858001"/>
                </a:lnTo>
                <a:lnTo>
                  <a:pt x="67701" y="6814599"/>
                </a:lnTo>
                <a:cubicBezTo>
                  <a:pt x="1153758" y="6080874"/>
                  <a:pt x="1867809" y="4838326"/>
                  <a:pt x="1867809" y="3429001"/>
                </a:cubicBezTo>
                <a:cubicBezTo>
                  <a:pt x="1867809" y="2019677"/>
                  <a:pt x="1153758" y="777128"/>
                  <a:pt x="67701" y="43403"/>
                </a:cubicBezTo>
                <a:lnTo>
                  <a:pt x="1" y="1"/>
                </a:lnTo>
                <a:lnTo>
                  <a:pt x="4802413" y="1"/>
                </a:lnTo>
                <a:close/>
              </a:path>
            </a:pathLst>
          </a:custGeom>
        </p:spPr>
        <p:txBody>
          <a:bodyPr wrap="square" tIns="360000" bIns="90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600" b="1"/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Brand Pictures, </a:t>
            </a:r>
            <a:br>
              <a:rPr lang="en-US" dirty="0"/>
            </a:br>
            <a:r>
              <a:rPr lang="en-US" dirty="0"/>
              <a:t>or insert a file from your computer.</a:t>
            </a:r>
            <a:br>
              <a:rPr lang="en-US" dirty="0"/>
            </a:br>
            <a:r>
              <a:rPr lang="en-US" dirty="0"/>
              <a:t>Alternatively, you can fill this shape </a:t>
            </a:r>
            <a:br>
              <a:rPr lang="en-US" dirty="0"/>
            </a:br>
            <a:r>
              <a:rPr lang="en-US" dirty="0"/>
              <a:t>with a solid </a:t>
            </a:r>
            <a:r>
              <a:rPr lang="en-US" dirty="0" err="1"/>
              <a:t>colour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Images can be scaled within this frame </a:t>
            </a:r>
            <a:br>
              <a:rPr lang="en-US" dirty="0"/>
            </a:br>
            <a:r>
              <a:rPr lang="en-US" dirty="0"/>
              <a:t>by using the Crop feature in </a:t>
            </a:r>
            <a:br>
              <a:rPr lang="en-US" dirty="0"/>
            </a:br>
            <a:r>
              <a:rPr lang="en-US" dirty="0"/>
              <a:t>the Picture 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41CC83E6-E70E-43EE-817C-4F68FB75EFD9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/>
          </a:p>
        </p:txBody>
      </p:sp>
    </p:spTree>
    <p:custDataLst>
      <p:tags r:id="rId1"/>
    </p:custData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735533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40B35679-83CF-4DE2-BCA6-286802F6502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4622041" cy="6858000"/>
          </a:xfrm>
          <a:custGeom>
            <a:avLst/>
            <a:gdLst>
              <a:gd name="connsiteX0" fmla="*/ 0 w 4622041"/>
              <a:gd name="connsiteY0" fmla="*/ 0 h 6858000"/>
              <a:gd name="connsiteX1" fmla="*/ 1524909 w 4622041"/>
              <a:gd name="connsiteY1" fmla="*/ 0 h 6858000"/>
              <a:gd name="connsiteX2" fmla="*/ 3181350 w 4622041"/>
              <a:gd name="connsiteY2" fmla="*/ 0 h 6858000"/>
              <a:gd name="connsiteX3" fmla="*/ 3848100 w 4622041"/>
              <a:gd name="connsiteY3" fmla="*/ 0 h 6858000"/>
              <a:gd name="connsiteX4" fmla="*/ 4203480 w 4622041"/>
              <a:gd name="connsiteY4" fmla="*/ 0 h 6858000"/>
              <a:gd name="connsiteX5" fmla="*/ 4622041 w 4622041"/>
              <a:gd name="connsiteY5" fmla="*/ 0 h 6858000"/>
              <a:gd name="connsiteX6" fmla="*/ 4491391 w 4622041"/>
              <a:gd name="connsiteY6" fmla="*/ 203795 h 6858000"/>
              <a:gd name="connsiteX7" fmla="*/ 3590925 w 4622041"/>
              <a:gd name="connsiteY7" fmla="*/ 3429000 h 6858000"/>
              <a:gd name="connsiteX8" fmla="*/ 4491391 w 4622041"/>
              <a:gd name="connsiteY8" fmla="*/ 6654205 h 6858000"/>
              <a:gd name="connsiteX9" fmla="*/ 4622041 w 4622041"/>
              <a:gd name="connsiteY9" fmla="*/ 6858000 h 6858000"/>
              <a:gd name="connsiteX10" fmla="*/ 4452454 w 4622041"/>
              <a:gd name="connsiteY10" fmla="*/ 6858000 h 6858000"/>
              <a:gd name="connsiteX11" fmla="*/ 3848100 w 4622041"/>
              <a:gd name="connsiteY11" fmla="*/ 6858000 h 6858000"/>
              <a:gd name="connsiteX12" fmla="*/ 3181350 w 4622041"/>
              <a:gd name="connsiteY12" fmla="*/ 6858000 h 6858000"/>
              <a:gd name="connsiteX13" fmla="*/ 1275934 w 4622041"/>
              <a:gd name="connsiteY13" fmla="*/ 6858000 h 6858000"/>
              <a:gd name="connsiteX14" fmla="*/ 0 w 4622041"/>
              <a:gd name="connsiteY14" fmla="*/ 6858000 h 6858000"/>
              <a:gd name="connsiteX15" fmla="*/ 0 w 4622041"/>
              <a:gd name="connsiteY15" fmla="*/ 5860486 h 6858000"/>
              <a:gd name="connsiteX16" fmla="*/ 0 w 4622041"/>
              <a:gd name="connsiteY16" fmla="*/ 11044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22041" h="6858000">
                <a:moveTo>
                  <a:pt x="0" y="0"/>
                </a:moveTo>
                <a:lnTo>
                  <a:pt x="1524909" y="0"/>
                </a:lnTo>
                <a:lnTo>
                  <a:pt x="3181350" y="0"/>
                </a:lnTo>
                <a:lnTo>
                  <a:pt x="3848100" y="0"/>
                </a:lnTo>
                <a:lnTo>
                  <a:pt x="4203480" y="0"/>
                </a:lnTo>
                <a:lnTo>
                  <a:pt x="4622041" y="0"/>
                </a:lnTo>
                <a:lnTo>
                  <a:pt x="4491391" y="203795"/>
                </a:lnTo>
                <a:cubicBezTo>
                  <a:pt x="3919978" y="1144214"/>
                  <a:pt x="3590925" y="2248180"/>
                  <a:pt x="3590925" y="3429000"/>
                </a:cubicBezTo>
                <a:cubicBezTo>
                  <a:pt x="3590925" y="4609821"/>
                  <a:pt x="3919978" y="5713787"/>
                  <a:pt x="4491391" y="6654205"/>
                </a:cubicBezTo>
                <a:lnTo>
                  <a:pt x="4622041" y="6858000"/>
                </a:lnTo>
                <a:lnTo>
                  <a:pt x="4452454" y="6858000"/>
                </a:lnTo>
                <a:lnTo>
                  <a:pt x="3848100" y="6858000"/>
                </a:lnTo>
                <a:lnTo>
                  <a:pt x="3181350" y="6858000"/>
                </a:lnTo>
                <a:lnTo>
                  <a:pt x="1275934" y="6858000"/>
                </a:lnTo>
                <a:lnTo>
                  <a:pt x="0" y="6858000"/>
                </a:lnTo>
                <a:lnTo>
                  <a:pt x="0" y="5860486"/>
                </a:lnTo>
                <a:lnTo>
                  <a:pt x="0" y="11044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vert="horz" wrap="square" lIns="396000" tIns="612000" rIns="576000" bIns="684000" rtlCol="0" anchor="ctr" anchorCtr="0">
            <a:noAutofit/>
          </a:bodyPr>
          <a:lstStyle>
            <a:lvl1pPr marL="0" indent="0" algn="l">
              <a:buNone/>
              <a:defRPr lang="en-US" sz="1600" b="1" dirty="0"/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2560C9-DF52-45CA-87E0-E0A1940555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59400" y="2329935"/>
            <a:ext cx="6424612" cy="576000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FB789-D2DE-40CF-B66E-05E9E8302D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28" y="404812"/>
            <a:ext cx="7284584" cy="125666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DCC698-5F0A-4A1C-B64E-2817FBBBC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99530C-C25D-41F5-8CBD-274088C90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3010FE-DD71-4076-8A5D-D08E5CA3F6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59400" y="3422724"/>
            <a:ext cx="6424612" cy="576000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4A02FB3-913D-4DFD-A345-FDDE4BA12B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59400" y="4515514"/>
            <a:ext cx="6424612" cy="576000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ED2D347-F52F-43C1-87F8-DDC9498C0F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99428" y="2239372"/>
            <a:ext cx="741600" cy="7416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A674ED9-5FA4-4FE1-86F0-863ECF4F5C2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99428" y="3330336"/>
            <a:ext cx="741600" cy="7416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C1651B7-FA29-4E69-8977-501BC13BB59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9428" y="4423126"/>
            <a:ext cx="741600" cy="741600"/>
          </a:xfrm>
          <a:prstGeom prst="ellipse">
            <a:avLst/>
          </a:prstGeom>
          <a:solidFill>
            <a:schemeClr val="accent6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6295E5-B4E8-48AD-9C2D-E2D10E570C63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4499427" y="5435599"/>
            <a:ext cx="7284585" cy="765175"/>
          </a:xfrm>
        </p:spPr>
        <p:txBody>
          <a:bodyPr anchor="b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4024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3DA75641-709C-423B-B1F0-AD4EF905E59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4622041" cy="6858000"/>
          </a:xfrm>
          <a:custGeom>
            <a:avLst/>
            <a:gdLst>
              <a:gd name="connsiteX0" fmla="*/ 0 w 4622041"/>
              <a:gd name="connsiteY0" fmla="*/ 0 h 6858000"/>
              <a:gd name="connsiteX1" fmla="*/ 1524909 w 4622041"/>
              <a:gd name="connsiteY1" fmla="*/ 0 h 6858000"/>
              <a:gd name="connsiteX2" fmla="*/ 3181350 w 4622041"/>
              <a:gd name="connsiteY2" fmla="*/ 0 h 6858000"/>
              <a:gd name="connsiteX3" fmla="*/ 3848100 w 4622041"/>
              <a:gd name="connsiteY3" fmla="*/ 0 h 6858000"/>
              <a:gd name="connsiteX4" fmla="*/ 4203480 w 4622041"/>
              <a:gd name="connsiteY4" fmla="*/ 0 h 6858000"/>
              <a:gd name="connsiteX5" fmla="*/ 4622041 w 4622041"/>
              <a:gd name="connsiteY5" fmla="*/ 0 h 6858000"/>
              <a:gd name="connsiteX6" fmla="*/ 4491391 w 4622041"/>
              <a:gd name="connsiteY6" fmla="*/ 203795 h 6858000"/>
              <a:gd name="connsiteX7" fmla="*/ 3590925 w 4622041"/>
              <a:gd name="connsiteY7" fmla="*/ 3429000 h 6858000"/>
              <a:gd name="connsiteX8" fmla="*/ 4491391 w 4622041"/>
              <a:gd name="connsiteY8" fmla="*/ 6654205 h 6858000"/>
              <a:gd name="connsiteX9" fmla="*/ 4622041 w 4622041"/>
              <a:gd name="connsiteY9" fmla="*/ 6858000 h 6858000"/>
              <a:gd name="connsiteX10" fmla="*/ 4452454 w 4622041"/>
              <a:gd name="connsiteY10" fmla="*/ 6858000 h 6858000"/>
              <a:gd name="connsiteX11" fmla="*/ 3848100 w 4622041"/>
              <a:gd name="connsiteY11" fmla="*/ 6858000 h 6858000"/>
              <a:gd name="connsiteX12" fmla="*/ 3181350 w 4622041"/>
              <a:gd name="connsiteY12" fmla="*/ 6858000 h 6858000"/>
              <a:gd name="connsiteX13" fmla="*/ 1275934 w 4622041"/>
              <a:gd name="connsiteY13" fmla="*/ 6858000 h 6858000"/>
              <a:gd name="connsiteX14" fmla="*/ 0 w 4622041"/>
              <a:gd name="connsiteY14" fmla="*/ 6858000 h 6858000"/>
              <a:gd name="connsiteX15" fmla="*/ 0 w 4622041"/>
              <a:gd name="connsiteY15" fmla="*/ 5860486 h 6858000"/>
              <a:gd name="connsiteX16" fmla="*/ 0 w 4622041"/>
              <a:gd name="connsiteY16" fmla="*/ 11044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22041" h="6858000">
                <a:moveTo>
                  <a:pt x="0" y="0"/>
                </a:moveTo>
                <a:lnTo>
                  <a:pt x="1524909" y="0"/>
                </a:lnTo>
                <a:lnTo>
                  <a:pt x="3181350" y="0"/>
                </a:lnTo>
                <a:lnTo>
                  <a:pt x="3848100" y="0"/>
                </a:lnTo>
                <a:lnTo>
                  <a:pt x="4203480" y="0"/>
                </a:lnTo>
                <a:lnTo>
                  <a:pt x="4622041" y="0"/>
                </a:lnTo>
                <a:lnTo>
                  <a:pt x="4491391" y="203795"/>
                </a:lnTo>
                <a:cubicBezTo>
                  <a:pt x="3919978" y="1144214"/>
                  <a:pt x="3590925" y="2248180"/>
                  <a:pt x="3590925" y="3429000"/>
                </a:cubicBezTo>
                <a:cubicBezTo>
                  <a:pt x="3590925" y="4609821"/>
                  <a:pt x="3919978" y="5713787"/>
                  <a:pt x="4491391" y="6654205"/>
                </a:cubicBezTo>
                <a:lnTo>
                  <a:pt x="4622041" y="6858000"/>
                </a:lnTo>
                <a:lnTo>
                  <a:pt x="4452454" y="6858000"/>
                </a:lnTo>
                <a:lnTo>
                  <a:pt x="3848100" y="6858000"/>
                </a:lnTo>
                <a:lnTo>
                  <a:pt x="3181350" y="6858000"/>
                </a:lnTo>
                <a:lnTo>
                  <a:pt x="1275934" y="6858000"/>
                </a:lnTo>
                <a:lnTo>
                  <a:pt x="0" y="6858000"/>
                </a:lnTo>
                <a:lnTo>
                  <a:pt x="0" y="5860486"/>
                </a:lnTo>
                <a:lnTo>
                  <a:pt x="0" y="11044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vert="horz" wrap="square" lIns="396000" tIns="612000" rIns="576000" bIns="684000" rtlCol="0" anchor="ctr" anchorCtr="0">
            <a:noAutofit/>
          </a:bodyPr>
          <a:lstStyle>
            <a:lvl1pPr marL="0" indent="0" algn="l">
              <a:buNone/>
              <a:defRPr lang="en-US" sz="1600" b="1" dirty="0"/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2560C9-DF52-45CA-87E0-E0A1940555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59400" y="2128622"/>
            <a:ext cx="6424612" cy="3323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FB789-D2DE-40CF-B66E-05E9E8302D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28" y="404812"/>
            <a:ext cx="7284584" cy="125666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DCC698-5F0A-4A1C-B64E-2817FBBBC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99530C-C25D-41F5-8CBD-274088C90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3010FE-DD71-4076-8A5D-D08E5CA3F6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59400" y="3044042"/>
            <a:ext cx="6424612" cy="3323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4A02FB3-913D-4DFD-A345-FDDE4BA12B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59400" y="4874880"/>
            <a:ext cx="6424612" cy="3323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6F61F16-916C-41D6-93C0-D26547A831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59400" y="3959461"/>
            <a:ext cx="6424612" cy="3323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405DB1E-6924-443C-A8B8-FFCED6D044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9428" y="1924934"/>
            <a:ext cx="741600" cy="7416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7620A9FC-75F4-4534-8E23-737EFB4DB02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99428" y="2839745"/>
            <a:ext cx="741600" cy="7416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D0C7DB09-B358-4330-A556-6A32306FB6F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99428" y="3754556"/>
            <a:ext cx="741600" cy="741600"/>
          </a:xfrm>
          <a:prstGeom prst="ellipse">
            <a:avLst/>
          </a:prstGeom>
          <a:solidFill>
            <a:schemeClr val="accent6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D7F83E1A-C572-414D-B749-C4B0072E45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99428" y="4669368"/>
            <a:ext cx="741600" cy="741600"/>
          </a:xfrm>
          <a:prstGeom prst="ellipse">
            <a:avLst/>
          </a:prstGeom>
          <a:solidFill>
            <a:schemeClr val="accent5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C9299A-9533-4322-A77F-090D4002210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4499428" y="5435600"/>
            <a:ext cx="7284584" cy="765175"/>
          </a:xfrm>
        </p:spPr>
        <p:txBody>
          <a:bodyPr anchor="b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4970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06F2FD5-F128-4C4F-BF0A-3F6CBBABE38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4622041" cy="6858000"/>
          </a:xfrm>
          <a:custGeom>
            <a:avLst/>
            <a:gdLst>
              <a:gd name="connsiteX0" fmla="*/ 0 w 4622041"/>
              <a:gd name="connsiteY0" fmla="*/ 0 h 6858000"/>
              <a:gd name="connsiteX1" fmla="*/ 1524909 w 4622041"/>
              <a:gd name="connsiteY1" fmla="*/ 0 h 6858000"/>
              <a:gd name="connsiteX2" fmla="*/ 3181350 w 4622041"/>
              <a:gd name="connsiteY2" fmla="*/ 0 h 6858000"/>
              <a:gd name="connsiteX3" fmla="*/ 3848100 w 4622041"/>
              <a:gd name="connsiteY3" fmla="*/ 0 h 6858000"/>
              <a:gd name="connsiteX4" fmla="*/ 4203480 w 4622041"/>
              <a:gd name="connsiteY4" fmla="*/ 0 h 6858000"/>
              <a:gd name="connsiteX5" fmla="*/ 4622041 w 4622041"/>
              <a:gd name="connsiteY5" fmla="*/ 0 h 6858000"/>
              <a:gd name="connsiteX6" fmla="*/ 4491391 w 4622041"/>
              <a:gd name="connsiteY6" fmla="*/ 203795 h 6858000"/>
              <a:gd name="connsiteX7" fmla="*/ 3590925 w 4622041"/>
              <a:gd name="connsiteY7" fmla="*/ 3429000 h 6858000"/>
              <a:gd name="connsiteX8" fmla="*/ 4491391 w 4622041"/>
              <a:gd name="connsiteY8" fmla="*/ 6654205 h 6858000"/>
              <a:gd name="connsiteX9" fmla="*/ 4622041 w 4622041"/>
              <a:gd name="connsiteY9" fmla="*/ 6858000 h 6858000"/>
              <a:gd name="connsiteX10" fmla="*/ 4452454 w 4622041"/>
              <a:gd name="connsiteY10" fmla="*/ 6858000 h 6858000"/>
              <a:gd name="connsiteX11" fmla="*/ 3848100 w 4622041"/>
              <a:gd name="connsiteY11" fmla="*/ 6858000 h 6858000"/>
              <a:gd name="connsiteX12" fmla="*/ 3181350 w 4622041"/>
              <a:gd name="connsiteY12" fmla="*/ 6858000 h 6858000"/>
              <a:gd name="connsiteX13" fmla="*/ 1275934 w 4622041"/>
              <a:gd name="connsiteY13" fmla="*/ 6858000 h 6858000"/>
              <a:gd name="connsiteX14" fmla="*/ 0 w 4622041"/>
              <a:gd name="connsiteY14" fmla="*/ 6858000 h 6858000"/>
              <a:gd name="connsiteX15" fmla="*/ 0 w 4622041"/>
              <a:gd name="connsiteY15" fmla="*/ 5860486 h 6858000"/>
              <a:gd name="connsiteX16" fmla="*/ 0 w 4622041"/>
              <a:gd name="connsiteY16" fmla="*/ 11044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622041" h="6858000">
                <a:moveTo>
                  <a:pt x="0" y="0"/>
                </a:moveTo>
                <a:lnTo>
                  <a:pt x="1524909" y="0"/>
                </a:lnTo>
                <a:lnTo>
                  <a:pt x="3181350" y="0"/>
                </a:lnTo>
                <a:lnTo>
                  <a:pt x="3848100" y="0"/>
                </a:lnTo>
                <a:lnTo>
                  <a:pt x="4203480" y="0"/>
                </a:lnTo>
                <a:lnTo>
                  <a:pt x="4622041" y="0"/>
                </a:lnTo>
                <a:lnTo>
                  <a:pt x="4491391" y="203795"/>
                </a:lnTo>
                <a:cubicBezTo>
                  <a:pt x="3919978" y="1144214"/>
                  <a:pt x="3590925" y="2248180"/>
                  <a:pt x="3590925" y="3429000"/>
                </a:cubicBezTo>
                <a:cubicBezTo>
                  <a:pt x="3590925" y="4609821"/>
                  <a:pt x="3919978" y="5713787"/>
                  <a:pt x="4491391" y="6654205"/>
                </a:cubicBezTo>
                <a:lnTo>
                  <a:pt x="4622041" y="6858000"/>
                </a:lnTo>
                <a:lnTo>
                  <a:pt x="4452454" y="6858000"/>
                </a:lnTo>
                <a:lnTo>
                  <a:pt x="3848100" y="6858000"/>
                </a:lnTo>
                <a:lnTo>
                  <a:pt x="3181350" y="6858000"/>
                </a:lnTo>
                <a:lnTo>
                  <a:pt x="1275934" y="6858000"/>
                </a:lnTo>
                <a:lnTo>
                  <a:pt x="0" y="6858000"/>
                </a:lnTo>
                <a:lnTo>
                  <a:pt x="0" y="5860486"/>
                </a:lnTo>
                <a:lnTo>
                  <a:pt x="0" y="11044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vert="horz" wrap="square" lIns="396000" tIns="612000" rIns="576000" bIns="684000" rtlCol="0" anchor="ctr" anchorCtr="0">
            <a:noAutofit/>
          </a:bodyPr>
          <a:lstStyle>
            <a:lvl1pPr marL="0" indent="0" algn="l">
              <a:buNone/>
              <a:defRPr lang="en-US" sz="1600" b="1" dirty="0"/>
            </a:lvl1pPr>
          </a:lstStyle>
          <a:p>
            <a:r>
              <a:rPr lang="en-US" dirty="0"/>
              <a:t>_______________________________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o add an image here: </a:t>
            </a:r>
            <a:br>
              <a:rPr lang="en-US" dirty="0"/>
            </a:br>
            <a:r>
              <a:rPr lang="en-US" dirty="0"/>
              <a:t>Click the icon and select </a:t>
            </a:r>
            <a:br>
              <a:rPr lang="en-US" dirty="0"/>
            </a:br>
            <a:r>
              <a:rPr lang="en-US" dirty="0"/>
              <a:t>Brand Pictures, or insert a </a:t>
            </a:r>
            <a:br>
              <a:rPr lang="en-US" dirty="0"/>
            </a:br>
            <a:r>
              <a:rPr lang="en-US" dirty="0"/>
              <a:t>file from your compu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Your image can then be scaled </a:t>
            </a:r>
            <a:br>
              <a:rPr lang="en-US" dirty="0"/>
            </a:br>
            <a:r>
              <a:rPr lang="en-US" dirty="0"/>
              <a:t>within the frame by using the </a:t>
            </a:r>
            <a:br>
              <a:rPr lang="en-US" dirty="0"/>
            </a:br>
            <a:r>
              <a:rPr lang="en-US" dirty="0"/>
              <a:t>Crop feature in the Picture </a:t>
            </a:r>
            <a:br>
              <a:rPr lang="en-US" dirty="0"/>
            </a:br>
            <a:r>
              <a:rPr lang="en-US" dirty="0"/>
              <a:t>Format tab of the ribbon.</a:t>
            </a:r>
            <a:br>
              <a:rPr lang="en-US" dirty="0"/>
            </a:br>
            <a:r>
              <a:rPr lang="en-US" dirty="0"/>
              <a:t>_______________________________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2560C9-DF52-45CA-87E0-E0A1940555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59400" y="1924934"/>
            <a:ext cx="642461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FB789-D2DE-40CF-B66E-05E9E8302D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28" y="404812"/>
            <a:ext cx="7284584" cy="125666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DCC698-5F0A-4A1C-B64E-2817FBBBC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99530C-C25D-41F5-8CBD-274088C90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3010FE-DD71-4076-8A5D-D08E5CA3F6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59400" y="2641774"/>
            <a:ext cx="642461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4A02FB3-913D-4DFD-A345-FDDE4BA12B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59400" y="4792296"/>
            <a:ext cx="642461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6F61F16-916C-41D6-93C0-D26547A831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59400" y="3358614"/>
            <a:ext cx="642461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E299348-94D5-4256-BE1F-91C31CCEE98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59400" y="4075454"/>
            <a:ext cx="642461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FA643F8-1A02-4F8A-A364-9AE565DF5EA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57303" y="1924934"/>
            <a:ext cx="619200" cy="6192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3713115-FE34-4B39-AFA3-10C7463374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7303" y="2641642"/>
            <a:ext cx="619200" cy="6192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CE34AE4-68D5-46DB-AD84-2C32865C63D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57303" y="3358350"/>
            <a:ext cx="619200" cy="619200"/>
          </a:xfrm>
          <a:prstGeom prst="ellipse">
            <a:avLst/>
          </a:prstGeom>
          <a:solidFill>
            <a:schemeClr val="accent6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47AC357D-474A-4C79-9824-ECFF8F3FFD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7303" y="4075058"/>
            <a:ext cx="619200" cy="619200"/>
          </a:xfrm>
          <a:prstGeom prst="ellipse">
            <a:avLst/>
          </a:prstGeom>
          <a:solidFill>
            <a:schemeClr val="accent5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5DEB97F-2B12-42B1-94DB-0EF97C477C0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57303" y="4791768"/>
            <a:ext cx="619200" cy="619200"/>
          </a:xfrm>
          <a:prstGeom prst="ellipse">
            <a:avLst/>
          </a:prstGeom>
          <a:solidFill>
            <a:schemeClr val="accent3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8A0F6B-F800-4221-A650-5ADC36B1E485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4499427" y="5435600"/>
            <a:ext cx="7284585" cy="765175"/>
          </a:xfrm>
        </p:spPr>
        <p:txBody>
          <a:bodyPr anchor="b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82340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389D6A8-8E5C-4277-8893-0A9C079431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7958" y="1855084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A874EA9-D333-4FE9-8140-0BC9274C46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67958" y="2619550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5478868-AD6E-4BF2-A5D5-4419F0FE3D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67958" y="4912946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B341191-B235-4FEE-8692-7439683F49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67958" y="3384016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2EA25F2-ECC7-41D2-B459-804B882ADE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67958" y="4148482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31393DB-8371-4387-A8EC-2615FF130D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13123" y="1855084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99783B38-5869-4574-94FE-E400012AFA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13123" y="2619550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45568D9C-380F-4EA2-A943-1561234300F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013123" y="4912946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F94A476-3E40-44D5-849D-9149AE38EF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13123" y="3384016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CD4BA337-FE74-4504-AED8-E2CC58C591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013123" y="4148482"/>
            <a:ext cx="4770892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C4498E7-85C7-4EBC-8FD5-08BDE47C7D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07987" y="1855085"/>
            <a:ext cx="619200" cy="619200"/>
          </a:xfrm>
          <a:prstGeom prst="ellipse">
            <a:avLst/>
          </a:prstGeom>
          <a:solidFill>
            <a:schemeClr val="accent3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9993301-BB5C-4073-82B0-2E2A86C582B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7987" y="2619550"/>
            <a:ext cx="619200" cy="6192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867C4299-E81F-47CC-8EFA-DE7F90F2AE4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7987" y="3384015"/>
            <a:ext cx="619200" cy="619200"/>
          </a:xfrm>
          <a:prstGeom prst="ellipse">
            <a:avLst/>
          </a:prstGeom>
          <a:solidFill>
            <a:schemeClr val="accent4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DF92FE5A-57F1-4CA6-B785-65C9290E4C5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07987" y="4148480"/>
            <a:ext cx="619200" cy="6192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4C3D325C-591F-418A-8501-373F5B47CED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07987" y="4912946"/>
            <a:ext cx="619200" cy="619200"/>
          </a:xfrm>
          <a:prstGeom prst="ellipse">
            <a:avLst/>
          </a:prstGeom>
          <a:solidFill>
            <a:schemeClr val="tx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BE959E3-A230-4A45-A44D-0D2600F04D7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52624" y="1855085"/>
            <a:ext cx="619200" cy="619200"/>
          </a:xfrm>
          <a:prstGeom prst="ellipse">
            <a:avLst/>
          </a:prstGeom>
          <a:solidFill>
            <a:schemeClr val="accent3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9230A569-D2BE-47C9-B23B-242F9BCE4D3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52624" y="2619550"/>
            <a:ext cx="619200" cy="6192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739DA513-4AAC-49D0-8CF4-9D051E2AF09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2624" y="3384015"/>
            <a:ext cx="619200" cy="619200"/>
          </a:xfrm>
          <a:prstGeom prst="ellipse">
            <a:avLst/>
          </a:prstGeom>
          <a:solidFill>
            <a:schemeClr val="accent4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937A5709-9C0F-4D22-8682-F42BE67C6E0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52624" y="4148480"/>
            <a:ext cx="619200" cy="6192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E7ECA727-3B31-4369-859E-288CA12C15D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52624" y="4912946"/>
            <a:ext cx="619200" cy="619200"/>
          </a:xfrm>
          <a:prstGeom prst="ellipse">
            <a:avLst/>
          </a:prstGeom>
          <a:solidFill>
            <a:schemeClr val="tx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5CECDF-90FA-412C-990B-E98697545F95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9503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17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 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389D6A8-8E5C-4277-8893-0A9C079431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7958" y="1854556"/>
            <a:ext cx="2856367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A874EA9-D333-4FE9-8140-0BC9274C46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67958" y="2619022"/>
            <a:ext cx="2856367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5478868-AD6E-4BF2-A5D5-4419F0FE3D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67958" y="4912418"/>
            <a:ext cx="2856367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B341191-B235-4FEE-8692-7439683F49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67958" y="3383488"/>
            <a:ext cx="2856367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2EA25F2-ECC7-41D2-B459-804B882ADE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67958" y="4147954"/>
            <a:ext cx="2856367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31393DB-8371-4387-A8EC-2615FF130D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4022" y="1854556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99783B38-5869-4574-94FE-E400012AFA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14022" y="2619022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45568D9C-380F-4EA2-A943-1561234300F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14022" y="4912418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F94A476-3E40-44D5-849D-9149AE38EF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14022" y="3383488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CD4BA337-FE74-4504-AED8-E2CC58C591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14022" y="4147954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E38E73F7-FE38-4EA1-B26C-9066FD27F2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27646" y="1854556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70D331A-49E5-4611-9359-4F394DF80A7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27646" y="2619022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36920284-DDE3-4249-BD23-6BD618A7B9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27646" y="4912418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255B9E79-3918-4AEA-9FB1-B8DA8830D42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927646" y="3383488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A10B7A9D-0951-460A-B307-8C45C659C04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927646" y="4147954"/>
            <a:ext cx="2853190" cy="618672"/>
          </a:xfrm>
        </p:spPr>
        <p:txBody>
          <a:bodyPr bIns="0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item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51D56828-7930-4CB2-AC4C-DD2817B5549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07987" y="1854557"/>
            <a:ext cx="619200" cy="619200"/>
          </a:xfrm>
          <a:prstGeom prst="ellipse">
            <a:avLst/>
          </a:prstGeom>
          <a:solidFill>
            <a:schemeClr val="accent3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32434B95-9130-4322-96F9-4D1B87EE299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07987" y="2619022"/>
            <a:ext cx="619200" cy="6192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AAA844A4-5D7D-42BE-8A30-80EA7A3E3B8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7987" y="3383487"/>
            <a:ext cx="619200" cy="619200"/>
          </a:xfrm>
          <a:prstGeom prst="ellipse">
            <a:avLst/>
          </a:prstGeom>
          <a:solidFill>
            <a:schemeClr val="accent4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D32BA0B-7043-4061-A2CF-60DD35F60B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07987" y="4147952"/>
            <a:ext cx="619200" cy="6192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FD994411-75C1-4CC9-B887-D52012E63F6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7987" y="4912418"/>
            <a:ext cx="619200" cy="619200"/>
          </a:xfrm>
          <a:prstGeom prst="ellipse">
            <a:avLst/>
          </a:prstGeom>
          <a:solidFill>
            <a:schemeClr val="tx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655EDDF9-D463-450A-ABB0-CE880C68EA6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253523" y="1854557"/>
            <a:ext cx="619200" cy="619200"/>
          </a:xfrm>
          <a:prstGeom prst="ellipse">
            <a:avLst/>
          </a:prstGeom>
          <a:solidFill>
            <a:schemeClr val="accent3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0DCA400E-575A-494B-833B-0862BB5CBED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253523" y="2619022"/>
            <a:ext cx="619200" cy="6192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CF6B8E7-567C-4395-885A-7010AE82B0D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253523" y="3383487"/>
            <a:ext cx="619200" cy="619200"/>
          </a:xfrm>
          <a:prstGeom prst="ellipse">
            <a:avLst/>
          </a:prstGeom>
          <a:solidFill>
            <a:schemeClr val="accent4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DBD99A3D-FF1E-40C5-B9A1-68337C838B0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53523" y="4147952"/>
            <a:ext cx="619200" cy="6192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7610D5A5-13EA-4E19-8C4D-CC3CD881111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253523" y="4912418"/>
            <a:ext cx="619200" cy="619200"/>
          </a:xfrm>
          <a:prstGeom prst="ellipse">
            <a:avLst/>
          </a:prstGeom>
          <a:solidFill>
            <a:schemeClr val="tx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5A4A9614-91AE-4050-A0F0-13F0DB9C900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67147" y="1854557"/>
            <a:ext cx="619200" cy="619200"/>
          </a:xfrm>
          <a:prstGeom prst="ellipse">
            <a:avLst/>
          </a:prstGeom>
          <a:solidFill>
            <a:schemeClr val="accent3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746AF557-8C0F-4DD4-A0EE-BCD70BB1FDD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067147" y="2619022"/>
            <a:ext cx="619200" cy="619200"/>
          </a:xfrm>
          <a:prstGeom prst="ellipse">
            <a:avLst/>
          </a:prstGeom>
          <a:solidFill>
            <a:schemeClr val="accent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C5EBA04F-B40C-40E7-95CC-6A3FA4659A6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067147" y="3383487"/>
            <a:ext cx="619200" cy="619200"/>
          </a:xfrm>
          <a:prstGeom prst="ellipse">
            <a:avLst/>
          </a:prstGeom>
          <a:solidFill>
            <a:schemeClr val="accent4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E97F80E1-ADF7-49DE-B15A-156AF94E5FD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067147" y="4147952"/>
            <a:ext cx="619200" cy="619200"/>
          </a:xfrm>
          <a:prstGeom prst="ellipse">
            <a:avLst/>
          </a:prstGeom>
          <a:solidFill>
            <a:schemeClr val="tx2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3331232-C0F2-409B-A2EA-A23E56D9B79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067147" y="4912418"/>
            <a:ext cx="619200" cy="619200"/>
          </a:xfrm>
          <a:prstGeom prst="ellipse">
            <a:avLst/>
          </a:prstGeom>
          <a:solidFill>
            <a:schemeClr val="tx1"/>
          </a:solidFill>
        </p:spPr>
        <p:txBody>
          <a:bodyPr wrap="none" bIns="0" anchor="ctr" anchorCtr="0"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66C612-B659-4CDE-9BF8-38082AD293F3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7373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38042380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 Numbered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3D21955E-9F42-484F-BAD3-4596411F9D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953130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9582333 w 12192000"/>
              <a:gd name="connsiteY3" fmla="*/ 6858000 h 6858000"/>
              <a:gd name="connsiteX4" fmla="*/ 9627483 w 12192000"/>
              <a:gd name="connsiteY4" fmla="*/ 6825894 h 6858000"/>
              <a:gd name="connsiteX5" fmla="*/ 11321144 w 12192000"/>
              <a:gd name="connsiteY5" fmla="*/ 3447143 h 6858000"/>
              <a:gd name="connsiteX6" fmla="*/ 9627483 w 12192000"/>
              <a:gd name="connsiteY6" fmla="*/ 68393 h 6858000"/>
              <a:gd name="connsiteX7" fmla="*/ 0 w 12192000"/>
              <a:gd name="connsiteY7" fmla="*/ 0 h 6858000"/>
              <a:gd name="connsiteX8" fmla="*/ 4678180 w 12192000"/>
              <a:gd name="connsiteY8" fmla="*/ 0 h 6858000"/>
              <a:gd name="connsiteX9" fmla="*/ 4582003 w 12192000"/>
              <a:gd name="connsiteY9" fmla="*/ 68393 h 6858000"/>
              <a:gd name="connsiteX10" fmla="*/ 2888342 w 12192000"/>
              <a:gd name="connsiteY10" fmla="*/ 3447143 h 6858000"/>
              <a:gd name="connsiteX11" fmla="*/ 4582003 w 12192000"/>
              <a:gd name="connsiteY11" fmla="*/ 6825894 h 6858000"/>
              <a:gd name="connsiteX12" fmla="*/ 462715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953130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82333" y="6858000"/>
                </a:lnTo>
                <a:lnTo>
                  <a:pt x="9627483" y="6825894"/>
                </a:lnTo>
                <a:cubicBezTo>
                  <a:pt x="10655639" y="6056982"/>
                  <a:pt x="11321144" y="4829781"/>
                  <a:pt x="11321144" y="3447143"/>
                </a:cubicBezTo>
                <a:cubicBezTo>
                  <a:pt x="11321144" y="2064505"/>
                  <a:pt x="10655639" y="837304"/>
                  <a:pt x="9627483" y="68393"/>
                </a:cubicBezTo>
                <a:close/>
                <a:moveTo>
                  <a:pt x="0" y="0"/>
                </a:moveTo>
                <a:lnTo>
                  <a:pt x="4678180" y="0"/>
                </a:lnTo>
                <a:lnTo>
                  <a:pt x="4582003" y="68393"/>
                </a:lnTo>
                <a:cubicBezTo>
                  <a:pt x="3553847" y="837304"/>
                  <a:pt x="2888342" y="2064505"/>
                  <a:pt x="2888342" y="3447143"/>
                </a:cubicBezTo>
                <a:cubicBezTo>
                  <a:pt x="2888342" y="4829781"/>
                  <a:pt x="3553847" y="6056982"/>
                  <a:pt x="4582003" y="6825894"/>
                </a:cubicBezTo>
                <a:lnTo>
                  <a:pt x="46271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48" name="Text Placeholder 30">
            <a:extLst>
              <a:ext uri="{FF2B5EF4-FFF2-40B4-BE49-F238E27FC236}">
                <a16:creationId xmlns:a16="http://schemas.microsoft.com/office/drawing/2014/main" id="{83C0165F-4C46-427C-9BC3-3E3036470225}"/>
              </a:ext>
            </a:extLst>
          </p:cNvPr>
          <p:cNvSpPr txBox="1">
            <a:spLocks/>
          </p:cNvSpPr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6B9B53-BC5F-4951-8139-8838ACDE0CE8}"/>
              </a:ext>
            </a:extLst>
          </p:cNvPr>
          <p:cNvSpPr txBox="1"/>
          <p:nvPr userDrawn="1"/>
        </p:nvSpPr>
        <p:spPr>
          <a:xfrm>
            <a:off x="407988" y="1711099"/>
            <a:ext cx="3510869" cy="10611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B2F3E176-AB90-4887-A037-69C9213D2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85D1E2A6-26D7-414A-B485-26C7F2DB8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2A459B71-255A-454D-ACEE-EFA416FB1A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0643" y="4893842"/>
            <a:ext cx="5509986" cy="612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Delete as necessary)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0D35F0D-849B-44F1-84DE-517F129F0E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0643" y="4021115"/>
            <a:ext cx="5509986" cy="612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69926A7-5190-4D16-B8FA-4E8AC83B3F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80643" y="3148387"/>
            <a:ext cx="5509986" cy="612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8291760-3118-46AD-8D2F-7140E51A8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0643" y="2275659"/>
            <a:ext cx="5509986" cy="612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EE761B3C-44DC-445F-985E-C1510FF035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0643" y="1402931"/>
            <a:ext cx="5509986" cy="612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2CECB5-D8D0-46E1-9AE6-5552E63784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02968" y="4820887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F96461D-0975-4B99-9CF4-8854EBF8D9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02968" y="39481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2B42374-DD83-44CB-B5F0-75FE41A6FC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2968" y="30754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FDD136D-A44B-4574-AF63-F8AEDA7C34F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02968" y="22027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148845D-A909-45F7-BB78-59A1EF2AE6D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02968" y="13300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49032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oint Numbered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8C431D6-C916-44DB-8489-9D378B7032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953130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9582333 w 12192000"/>
              <a:gd name="connsiteY3" fmla="*/ 6858000 h 6858000"/>
              <a:gd name="connsiteX4" fmla="*/ 9627483 w 12192000"/>
              <a:gd name="connsiteY4" fmla="*/ 6825894 h 6858000"/>
              <a:gd name="connsiteX5" fmla="*/ 11321144 w 12192000"/>
              <a:gd name="connsiteY5" fmla="*/ 3447143 h 6858000"/>
              <a:gd name="connsiteX6" fmla="*/ 9627483 w 12192000"/>
              <a:gd name="connsiteY6" fmla="*/ 68393 h 6858000"/>
              <a:gd name="connsiteX7" fmla="*/ 0 w 12192000"/>
              <a:gd name="connsiteY7" fmla="*/ 0 h 6858000"/>
              <a:gd name="connsiteX8" fmla="*/ 4678180 w 12192000"/>
              <a:gd name="connsiteY8" fmla="*/ 0 h 6858000"/>
              <a:gd name="connsiteX9" fmla="*/ 4582003 w 12192000"/>
              <a:gd name="connsiteY9" fmla="*/ 68393 h 6858000"/>
              <a:gd name="connsiteX10" fmla="*/ 2888342 w 12192000"/>
              <a:gd name="connsiteY10" fmla="*/ 3447143 h 6858000"/>
              <a:gd name="connsiteX11" fmla="*/ 4582003 w 12192000"/>
              <a:gd name="connsiteY11" fmla="*/ 6825894 h 6858000"/>
              <a:gd name="connsiteX12" fmla="*/ 462715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953130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82333" y="6858000"/>
                </a:lnTo>
                <a:lnTo>
                  <a:pt x="9627483" y="6825894"/>
                </a:lnTo>
                <a:cubicBezTo>
                  <a:pt x="10655639" y="6056982"/>
                  <a:pt x="11321144" y="4829781"/>
                  <a:pt x="11321144" y="3447143"/>
                </a:cubicBezTo>
                <a:cubicBezTo>
                  <a:pt x="11321144" y="2064505"/>
                  <a:pt x="10655639" y="837304"/>
                  <a:pt x="9627483" y="68393"/>
                </a:cubicBezTo>
                <a:close/>
                <a:moveTo>
                  <a:pt x="0" y="0"/>
                </a:moveTo>
                <a:lnTo>
                  <a:pt x="4678180" y="0"/>
                </a:lnTo>
                <a:lnTo>
                  <a:pt x="4582003" y="68393"/>
                </a:lnTo>
                <a:cubicBezTo>
                  <a:pt x="3553847" y="837304"/>
                  <a:pt x="2888342" y="2064505"/>
                  <a:pt x="2888342" y="3447143"/>
                </a:cubicBezTo>
                <a:cubicBezTo>
                  <a:pt x="2888342" y="4829781"/>
                  <a:pt x="3553847" y="6056982"/>
                  <a:pt x="4582003" y="6825894"/>
                </a:cubicBezTo>
                <a:lnTo>
                  <a:pt x="46271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6B9B53-BC5F-4951-8139-8838ACDE0CE8}"/>
              </a:ext>
            </a:extLst>
          </p:cNvPr>
          <p:cNvSpPr txBox="1"/>
          <p:nvPr userDrawn="1"/>
        </p:nvSpPr>
        <p:spPr>
          <a:xfrm>
            <a:off x="407988" y="1711099"/>
            <a:ext cx="3510869" cy="10611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B2F3E176-AB90-4887-A037-69C9213D2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85D1E2A6-26D7-414A-B485-26C7F2DB8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3582C241-A2F1-41B1-9A03-2EAA2DA01052}"/>
              </a:ext>
            </a:extLst>
          </p:cNvPr>
          <p:cNvSpPr txBox="1">
            <a:spLocks/>
          </p:cNvSpPr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E202D8BD-1375-42F5-8EDA-87501CB76D4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71544" y="4931550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(Delete as necessary)</a:t>
            </a:r>
          </a:p>
        </p:txBody>
      </p:sp>
      <p:sp>
        <p:nvSpPr>
          <p:cNvPr id="55" name="Text Placeholder 19">
            <a:extLst>
              <a:ext uri="{FF2B5EF4-FFF2-40B4-BE49-F238E27FC236}">
                <a16:creationId xmlns:a16="http://schemas.microsoft.com/office/drawing/2014/main" id="{618EC809-EDBF-4233-B58A-E695BCD6BFF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71544" y="4014592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A79DE866-6A03-4597-A570-5581CBE197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71544" y="3141864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F7426764-DB29-4DD1-A5C3-B78B286D713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71544" y="2269136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8CD909AA-E3EB-4455-84F9-1B83247E0C7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71544" y="1396408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32AAF1D7-E033-416D-A8D5-5172E55895E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86397" y="4820887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991A1163-D73E-4FFA-8F7C-77D40D17FFA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286397" y="39481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13">
            <a:extLst>
              <a:ext uri="{FF2B5EF4-FFF2-40B4-BE49-F238E27FC236}">
                <a16:creationId xmlns:a16="http://schemas.microsoft.com/office/drawing/2014/main" id="{2902604F-2BF2-4E51-9A9C-30921F09ADB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86397" y="30754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1AF7E5D8-BD89-467E-8B74-40551FF3496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86397" y="22027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2AA14904-BE05-4D57-B9FA-5D6163B5D6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86397" y="13300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AB92A1D5-A1E7-4382-9E90-E11AEDDF481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88115" y="4931550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Delete as necessary)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74E22977-7AB6-47C3-9733-4FCF7DAB92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8115" y="4014592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E3BBA2F5-C344-42FE-975B-E2E682D16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8115" y="3141864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FB4AB76-631E-4FD1-99AE-0943A70FC5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8115" y="2269136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80D655E-A21E-4BDD-B0CA-FBA46015F1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8115" y="1396408"/>
            <a:ext cx="2438400" cy="576000"/>
          </a:xfrm>
          <a:noFill/>
        </p:spPr>
        <p:txBody>
          <a:bodyPr wrap="square" lIns="0" tIns="0" rIns="0" bIns="0" rtlCol="0" anchor="ctr" anchorCtr="0">
            <a:spAutoFit/>
          </a:bodyPr>
          <a:lstStyle>
            <a:lvl1pPr marL="0" indent="0">
              <a:lnSpc>
                <a:spcPct val="90000"/>
              </a:lnSpc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</a:t>
            </a:r>
            <a:br>
              <a:rPr lang="en-US"/>
            </a:br>
            <a:r>
              <a:rPr lang="en-US"/>
              <a:t>agenda item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7CEC41D0-8AFB-4DA8-B93E-3D8E7E53028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02968" y="4820887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C05A8F73-92EF-4E6F-AEE0-B63F9960B3F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2968" y="39481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FC97A4A0-52FC-4A4D-A5EC-3038B07A21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2968" y="30754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A1A166D-B1D1-4F6C-9C78-357D265BD0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02968" y="22027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7" name="Text Placeholder 1">
            <a:extLst>
              <a:ext uri="{FF2B5EF4-FFF2-40B4-BE49-F238E27FC236}">
                <a16:creationId xmlns:a16="http://schemas.microsoft.com/office/drawing/2014/main" id="{82F6A72E-E9D2-41D3-90E5-5DAF1F82A4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02968" y="1330088"/>
            <a:ext cx="741600" cy="741600"/>
          </a:xfrm>
          <a:prstGeom prst="ellipse">
            <a:avLst/>
          </a:prstGeom>
          <a:solidFill>
            <a:schemeClr val="bg1"/>
          </a:solidFill>
        </p:spPr>
        <p:txBody>
          <a:bodyPr wrap="none" bIns="0" anchor="ctr" anchorCtr="0">
            <a:noAutofit/>
          </a:bodyPr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n-lt"/>
              </a:defRPr>
            </a:lvl1pPr>
            <a:lvl2pPr>
              <a:defRPr sz="3200">
                <a:solidFill>
                  <a:schemeClr val="accent1"/>
                </a:solidFill>
              </a:defRPr>
            </a:lvl2pPr>
            <a:lvl3pPr>
              <a:defRPr sz="3200">
                <a:solidFill>
                  <a:schemeClr val="accent1"/>
                </a:solidFill>
              </a:defRPr>
            </a:lvl3pPr>
            <a:lvl4pPr>
              <a:defRPr sz="3200">
                <a:solidFill>
                  <a:schemeClr val="accent1"/>
                </a:solidFill>
              </a:defRPr>
            </a:lvl4pPr>
            <a:lvl5pPr>
              <a:defRPr sz="3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38063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8C431D6-C916-44DB-8489-9D378B7032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953130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9582333 w 12192000"/>
              <a:gd name="connsiteY3" fmla="*/ 6858000 h 6858000"/>
              <a:gd name="connsiteX4" fmla="*/ 9627483 w 12192000"/>
              <a:gd name="connsiteY4" fmla="*/ 6825894 h 6858000"/>
              <a:gd name="connsiteX5" fmla="*/ 11321144 w 12192000"/>
              <a:gd name="connsiteY5" fmla="*/ 3447143 h 6858000"/>
              <a:gd name="connsiteX6" fmla="*/ 9627483 w 12192000"/>
              <a:gd name="connsiteY6" fmla="*/ 68393 h 6858000"/>
              <a:gd name="connsiteX7" fmla="*/ 0 w 12192000"/>
              <a:gd name="connsiteY7" fmla="*/ 0 h 6858000"/>
              <a:gd name="connsiteX8" fmla="*/ 4678180 w 12192000"/>
              <a:gd name="connsiteY8" fmla="*/ 0 h 6858000"/>
              <a:gd name="connsiteX9" fmla="*/ 4582003 w 12192000"/>
              <a:gd name="connsiteY9" fmla="*/ 68393 h 6858000"/>
              <a:gd name="connsiteX10" fmla="*/ 2888342 w 12192000"/>
              <a:gd name="connsiteY10" fmla="*/ 3447143 h 6858000"/>
              <a:gd name="connsiteX11" fmla="*/ 4582003 w 12192000"/>
              <a:gd name="connsiteY11" fmla="*/ 6825894 h 6858000"/>
              <a:gd name="connsiteX12" fmla="*/ 462715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953130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82333" y="6858000"/>
                </a:lnTo>
                <a:lnTo>
                  <a:pt x="9627483" y="6825894"/>
                </a:lnTo>
                <a:cubicBezTo>
                  <a:pt x="10655639" y="6056982"/>
                  <a:pt x="11321144" y="4829781"/>
                  <a:pt x="11321144" y="3447143"/>
                </a:cubicBezTo>
                <a:cubicBezTo>
                  <a:pt x="11321144" y="2064505"/>
                  <a:pt x="10655639" y="837304"/>
                  <a:pt x="9627483" y="68393"/>
                </a:cubicBezTo>
                <a:close/>
                <a:moveTo>
                  <a:pt x="0" y="0"/>
                </a:moveTo>
                <a:lnTo>
                  <a:pt x="4678180" y="0"/>
                </a:lnTo>
                <a:lnTo>
                  <a:pt x="4582003" y="68393"/>
                </a:lnTo>
                <a:cubicBezTo>
                  <a:pt x="3553847" y="837304"/>
                  <a:pt x="2888342" y="2064505"/>
                  <a:pt x="2888342" y="3447143"/>
                </a:cubicBezTo>
                <a:cubicBezTo>
                  <a:pt x="2888342" y="4829781"/>
                  <a:pt x="3553847" y="6056982"/>
                  <a:pt x="4582003" y="6825894"/>
                </a:cubicBezTo>
                <a:lnTo>
                  <a:pt x="46271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6B9B53-BC5F-4951-8139-8838ACDE0CE8}"/>
              </a:ext>
            </a:extLst>
          </p:cNvPr>
          <p:cNvSpPr txBox="1"/>
          <p:nvPr userDrawn="1"/>
        </p:nvSpPr>
        <p:spPr>
          <a:xfrm>
            <a:off x="407988" y="1711099"/>
            <a:ext cx="3510869" cy="10611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B2F3E176-AB90-4887-A037-69C9213D2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85D1E2A6-26D7-414A-B485-26C7F2DB8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3582C241-A2F1-41B1-9A03-2EAA2DA01052}"/>
              </a:ext>
            </a:extLst>
          </p:cNvPr>
          <p:cNvSpPr txBox="1">
            <a:spLocks/>
          </p:cNvSpPr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1A83F7E-9865-4427-BE7C-98800E7CF5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10883" y="5055297"/>
            <a:ext cx="7011760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Delete as necessary)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809481-7920-4109-88EE-7224807C70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0883" y="4182570"/>
            <a:ext cx="7011760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E7C1BD24-B37E-4628-8D62-3C9973ACE9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0883" y="3309842"/>
            <a:ext cx="7011760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E74B0024-BB52-47E8-90AB-1AB3AB0721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10883" y="2437114"/>
            <a:ext cx="7011760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22AB51E3-5C47-4BA0-833A-49D72CAAF6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10883" y="1564386"/>
            <a:ext cx="7011760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genda i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144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CFFF0-7218-4B33-8DFC-E37157D920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8323" y="555585"/>
            <a:ext cx="5615354" cy="5614274"/>
          </a:xfrm>
          <a:prstGeom prst="ellipse">
            <a:avLst/>
          </a:prstGeom>
          <a:solidFill>
            <a:schemeClr val="bg1"/>
          </a:solidFill>
        </p:spPr>
        <p:txBody>
          <a:bodyPr anchor="ctr" anchorCtr="0">
            <a:normAutofit/>
          </a:bodyPr>
          <a:lstStyle>
            <a:lvl1pPr algn="ct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key statem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8931D2-AD7B-454A-86A6-EA48B20C0C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0FD97D-3F39-4649-B10A-ECD97F370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48095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oint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8C431D6-C916-44DB-8489-9D378B7032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953130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9582333 w 12192000"/>
              <a:gd name="connsiteY3" fmla="*/ 6858000 h 6858000"/>
              <a:gd name="connsiteX4" fmla="*/ 9627483 w 12192000"/>
              <a:gd name="connsiteY4" fmla="*/ 6825894 h 6858000"/>
              <a:gd name="connsiteX5" fmla="*/ 11321144 w 12192000"/>
              <a:gd name="connsiteY5" fmla="*/ 3447143 h 6858000"/>
              <a:gd name="connsiteX6" fmla="*/ 9627483 w 12192000"/>
              <a:gd name="connsiteY6" fmla="*/ 68393 h 6858000"/>
              <a:gd name="connsiteX7" fmla="*/ 0 w 12192000"/>
              <a:gd name="connsiteY7" fmla="*/ 0 h 6858000"/>
              <a:gd name="connsiteX8" fmla="*/ 4678180 w 12192000"/>
              <a:gd name="connsiteY8" fmla="*/ 0 h 6858000"/>
              <a:gd name="connsiteX9" fmla="*/ 4582003 w 12192000"/>
              <a:gd name="connsiteY9" fmla="*/ 68393 h 6858000"/>
              <a:gd name="connsiteX10" fmla="*/ 2888342 w 12192000"/>
              <a:gd name="connsiteY10" fmla="*/ 3447143 h 6858000"/>
              <a:gd name="connsiteX11" fmla="*/ 4582003 w 12192000"/>
              <a:gd name="connsiteY11" fmla="*/ 6825894 h 6858000"/>
              <a:gd name="connsiteX12" fmla="*/ 462715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953130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82333" y="6858000"/>
                </a:lnTo>
                <a:lnTo>
                  <a:pt x="9627483" y="6825894"/>
                </a:lnTo>
                <a:cubicBezTo>
                  <a:pt x="10655639" y="6056982"/>
                  <a:pt x="11321144" y="4829781"/>
                  <a:pt x="11321144" y="3447143"/>
                </a:cubicBezTo>
                <a:cubicBezTo>
                  <a:pt x="11321144" y="2064505"/>
                  <a:pt x="10655639" y="837304"/>
                  <a:pt x="9627483" y="68393"/>
                </a:cubicBezTo>
                <a:close/>
                <a:moveTo>
                  <a:pt x="0" y="0"/>
                </a:moveTo>
                <a:lnTo>
                  <a:pt x="4678180" y="0"/>
                </a:lnTo>
                <a:lnTo>
                  <a:pt x="4582003" y="68393"/>
                </a:lnTo>
                <a:cubicBezTo>
                  <a:pt x="3553847" y="837304"/>
                  <a:pt x="2888342" y="2064505"/>
                  <a:pt x="2888342" y="3447143"/>
                </a:cubicBezTo>
                <a:cubicBezTo>
                  <a:pt x="2888342" y="4829781"/>
                  <a:pt x="3553847" y="6056982"/>
                  <a:pt x="4582003" y="6825894"/>
                </a:cubicBezTo>
                <a:lnTo>
                  <a:pt x="46271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400" err="1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6B9B53-BC5F-4951-8139-8838ACDE0CE8}"/>
              </a:ext>
            </a:extLst>
          </p:cNvPr>
          <p:cNvSpPr txBox="1"/>
          <p:nvPr userDrawn="1"/>
        </p:nvSpPr>
        <p:spPr>
          <a:xfrm>
            <a:off x="407988" y="1711099"/>
            <a:ext cx="3510869" cy="10611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B2F3E176-AB90-4887-A037-69C9213D2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85D1E2A6-26D7-414A-B485-26C7F2DB8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3582C241-A2F1-41B1-9A03-2EAA2DA01052}"/>
              </a:ext>
            </a:extLst>
          </p:cNvPr>
          <p:cNvSpPr txBox="1">
            <a:spLocks/>
          </p:cNvSpPr>
          <p:nvPr userDrawn="1"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56" name="Text Placeholder 20">
            <a:extLst>
              <a:ext uri="{FF2B5EF4-FFF2-40B4-BE49-F238E27FC236}">
                <a16:creationId xmlns:a16="http://schemas.microsoft.com/office/drawing/2014/main" id="{E202D8BD-1375-42F5-8EDA-87501CB76D4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44896" y="5055297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vert="horz"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(Delete as necessary)</a:t>
            </a:r>
          </a:p>
        </p:txBody>
      </p:sp>
      <p:sp>
        <p:nvSpPr>
          <p:cNvPr id="55" name="Text Placeholder 19">
            <a:extLst>
              <a:ext uri="{FF2B5EF4-FFF2-40B4-BE49-F238E27FC236}">
                <a16:creationId xmlns:a16="http://schemas.microsoft.com/office/drawing/2014/main" id="{618EC809-EDBF-4233-B58A-E695BCD6BFF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44896" y="4182570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A79DE866-6A03-4597-A570-5581CBE197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44896" y="3309842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F7426764-DB29-4DD1-A5C3-B78B286D713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44896" y="2437114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8CD909AA-E3EB-4455-84F9-1B83247E0C7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44896" y="1564386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AB92A1D5-A1E7-4382-9E90-E11AEDDF481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10883" y="5055297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Delete as necessary)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74E22977-7AB6-47C3-9733-4FCF7DAB92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0883" y="4182570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E3BBA2F5-C344-42FE-975B-E2E682D16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0883" y="3309842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FB4AB76-631E-4FD1-99AE-0943A70FC5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10883" y="2437114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80D655E-A21E-4BDD-B0CA-FBA46015F1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0883" y="1564386"/>
            <a:ext cx="3321503" cy="477805"/>
          </a:xfrm>
          <a:noFill/>
          <a:ln>
            <a:gradFill>
              <a:gsLst>
                <a:gs pos="0">
                  <a:schemeClr val="bg1"/>
                </a:gs>
                <a:gs pos="2000">
                  <a:schemeClr val="bg1">
                    <a:alpha val="0"/>
                  </a:schemeClr>
                </a:gs>
                <a:gs pos="1000">
                  <a:schemeClr val="bg1"/>
                </a:gs>
              </a:gsLst>
              <a:lin ang="5400000" scaled="1"/>
            </a:gradFill>
          </a:ln>
        </p:spPr>
        <p:txBody>
          <a:bodyPr wrap="square" lIns="0" tIns="144000" rIns="0" bIns="0" rtlCol="0" anchor="t" anchorCtr="0">
            <a:spAutoFit/>
          </a:bodyPr>
          <a:lstStyle>
            <a:lvl1pPr marL="0" indent="0">
              <a:buNone/>
              <a:defRPr lang="en-US" sz="240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800" dirty="0" smtClean="0">
                <a:solidFill>
                  <a:schemeClr val="bg1"/>
                </a:solidFill>
              </a:defRPr>
            </a:lvl2pPr>
            <a:lvl3pPr>
              <a:defRPr lang="en-US" sz="1800" dirty="0" smtClean="0">
                <a:solidFill>
                  <a:schemeClr val="bg1"/>
                </a:solidFill>
              </a:defRPr>
            </a:lvl3pPr>
            <a:lvl4pPr>
              <a:defRPr lang="en-US" sz="1800" dirty="0" smtClean="0">
                <a:solidFill>
                  <a:schemeClr val="bg1"/>
                </a:solidFill>
              </a:defRPr>
            </a:lvl4pPr>
            <a:lvl5pPr>
              <a:defRPr lang="en-US" sz="18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agenda i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86048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5599190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Speaker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EE263FC4-B3BF-4198-B246-A58FF8C1DA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8" y="1245667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112D1D8-F166-4F88-B507-30219E1A1C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76878" y="1071349"/>
            <a:ext cx="1066598" cy="1066597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875002"/>
            <a:ext cx="3049588" cy="1107996"/>
          </a:xfrm>
        </p:spPr>
        <p:txBody>
          <a:bodyPr anchor="ctr" anchorCtr="0">
            <a:spAutoFit/>
          </a:bodyPr>
          <a:lstStyle>
            <a:lvl1pPr>
              <a:defRPr sz="4000"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35135AB-5B49-4A2B-A09B-EFF95FECF8D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2152" y="1071349"/>
            <a:ext cx="1066598" cy="1066597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FF349B1-3542-4E59-B8B3-3852BB36BFD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2152" y="2400382"/>
            <a:ext cx="1066598" cy="1066597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1B1FC8CD-D4CE-4E11-90DE-BDAEAE7935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76878" y="3729415"/>
            <a:ext cx="1066598" cy="1066597"/>
          </a:xfrm>
          <a:prstGeom prst="ellipse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B9366CB7-32DA-4E9E-99FC-DE95447593E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82152" y="5058448"/>
            <a:ext cx="1066598" cy="1066597"/>
          </a:xfrm>
          <a:prstGeom prst="ellipse">
            <a:avLst/>
          </a:prstGeo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72F775E8-A22B-4C7B-A7AF-7A6E5B4B25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82152" y="3729415"/>
            <a:ext cx="1066598" cy="1066597"/>
          </a:xfrm>
          <a:prstGeom prst="ellipse">
            <a:avLst/>
          </a:prstGeom>
          <a:blipFill>
            <a:blip r:embed="rId8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98BEEA61-F657-4A84-A5AD-517F0892DC2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76878" y="2400382"/>
            <a:ext cx="1066598" cy="1066597"/>
          </a:xfrm>
          <a:prstGeom prst="ellipse">
            <a:avLst/>
          </a:prstGeom>
          <a:blipFill>
            <a:blip r:embed="rId9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10BDC96E-E4BB-46C7-8B26-69C0CC4A1D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6878" y="5058448"/>
            <a:ext cx="1066598" cy="1066597"/>
          </a:xfrm>
          <a:prstGeom prst="ellipse">
            <a:avLst/>
          </a:prstGeom>
          <a:blipFill>
            <a:blip r:embed="rId10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7C4BEF10-7F26-49CE-9D86-B24AFAE8B98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28138" y="1600835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A0245B7A-36B7-48DD-8BF2-091A694BA5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24450" y="1245667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B12401EB-21B8-49A0-87B6-9030A3923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24450" y="1600835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2" name="Text Placeholder 57">
            <a:extLst>
              <a:ext uri="{FF2B5EF4-FFF2-40B4-BE49-F238E27FC236}">
                <a16:creationId xmlns:a16="http://schemas.microsoft.com/office/drawing/2014/main" id="{B1E36713-F111-4648-B34F-AAFF8DEC16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24450" y="2574486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C7941355-3F61-4691-8CBE-A8EE5B41B8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24450" y="2929654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D4C3AF58-54F1-4682-B4D9-555CBA584B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24450" y="3903519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5" name="Text Placeholder 57">
            <a:extLst>
              <a:ext uri="{FF2B5EF4-FFF2-40B4-BE49-F238E27FC236}">
                <a16:creationId xmlns:a16="http://schemas.microsoft.com/office/drawing/2014/main" id="{A102C3EE-ADA7-4748-833E-59DB5769D8D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24450" y="4258687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6" name="Text Placeholder 57">
            <a:extLst>
              <a:ext uri="{FF2B5EF4-FFF2-40B4-BE49-F238E27FC236}">
                <a16:creationId xmlns:a16="http://schemas.microsoft.com/office/drawing/2014/main" id="{93F601CD-C12B-4912-A9BA-1EECAE448C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24450" y="5232552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7" name="Text Placeholder 57">
            <a:extLst>
              <a:ext uri="{FF2B5EF4-FFF2-40B4-BE49-F238E27FC236}">
                <a16:creationId xmlns:a16="http://schemas.microsoft.com/office/drawing/2014/main" id="{20C48A33-763A-47D3-A206-1BBD3A417D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4450" y="5587720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8" name="Text Placeholder 57">
            <a:extLst>
              <a:ext uri="{FF2B5EF4-FFF2-40B4-BE49-F238E27FC236}">
                <a16:creationId xmlns:a16="http://schemas.microsoft.com/office/drawing/2014/main" id="{D875C94D-753C-4332-A792-6237EEC1F0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28138" y="2574486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9" name="Text Placeholder 57">
            <a:extLst>
              <a:ext uri="{FF2B5EF4-FFF2-40B4-BE49-F238E27FC236}">
                <a16:creationId xmlns:a16="http://schemas.microsoft.com/office/drawing/2014/main" id="{B06D4D8C-8568-423B-AABB-FB8BD683AC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28138" y="2929654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70" name="Text Placeholder 57">
            <a:extLst>
              <a:ext uri="{FF2B5EF4-FFF2-40B4-BE49-F238E27FC236}">
                <a16:creationId xmlns:a16="http://schemas.microsoft.com/office/drawing/2014/main" id="{7D2B1B3D-7A06-472C-AAC7-C6D547DD800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28138" y="3903519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71" name="Text Placeholder 57">
            <a:extLst>
              <a:ext uri="{FF2B5EF4-FFF2-40B4-BE49-F238E27FC236}">
                <a16:creationId xmlns:a16="http://schemas.microsoft.com/office/drawing/2014/main" id="{AD040565-F4BF-45F9-8EB6-02C700DE64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28138" y="4258687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DB9F8BAF-B545-4D72-ADD4-886DC007051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28138" y="5232552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73" name="Text Placeholder 57">
            <a:extLst>
              <a:ext uri="{FF2B5EF4-FFF2-40B4-BE49-F238E27FC236}">
                <a16:creationId xmlns:a16="http://schemas.microsoft.com/office/drawing/2014/main" id="{B0791138-7275-41D5-B115-CD52C7354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28138" y="5587720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A27BF6-985B-4C13-949F-7096DA11950A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4854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9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eaker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875002"/>
            <a:ext cx="3049588" cy="1107996"/>
          </a:xfrm>
        </p:spPr>
        <p:txBody>
          <a:bodyPr anchor="ctr" anchorCtr="0">
            <a:spAutoFit/>
          </a:bodyPr>
          <a:lstStyle>
            <a:lvl1pPr>
              <a:defRPr sz="4000"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FF349B1-3542-4E59-B8B3-3852BB36BFD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235926" y="2148588"/>
            <a:ext cx="1066598" cy="1066597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72F775E8-A22B-4C7B-A7AF-7A6E5B4B25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972776" y="2148588"/>
            <a:ext cx="1066598" cy="1066597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98BEEA61-F657-4A84-A5AD-517F0892DC2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00663" y="2148588"/>
            <a:ext cx="1066598" cy="1066597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62" name="Text Placeholder 57">
            <a:extLst>
              <a:ext uri="{FF2B5EF4-FFF2-40B4-BE49-F238E27FC236}">
                <a16:creationId xmlns:a16="http://schemas.microsoft.com/office/drawing/2014/main" id="{B1E36713-F111-4648-B34F-AAFF8DEC16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56025" y="3450064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C7941355-3F61-4691-8CBE-A8EE5B41B8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56025" y="3805232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8" name="Text Placeholder 57">
            <a:extLst>
              <a:ext uri="{FF2B5EF4-FFF2-40B4-BE49-F238E27FC236}">
                <a16:creationId xmlns:a16="http://schemas.microsoft.com/office/drawing/2014/main" id="{D875C94D-753C-4332-A792-6237EEC1F0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91288" y="3450064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9" name="Text Placeholder 57">
            <a:extLst>
              <a:ext uri="{FF2B5EF4-FFF2-40B4-BE49-F238E27FC236}">
                <a16:creationId xmlns:a16="http://schemas.microsoft.com/office/drawing/2014/main" id="{B06D4D8C-8568-423B-AABB-FB8BD683AC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91288" y="3805232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70" name="Text Placeholder 57">
            <a:extLst>
              <a:ext uri="{FF2B5EF4-FFF2-40B4-BE49-F238E27FC236}">
                <a16:creationId xmlns:a16="http://schemas.microsoft.com/office/drawing/2014/main" id="{7D2B1B3D-7A06-472C-AAC7-C6D547DD800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28138" y="3450064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71" name="Text Placeholder 57">
            <a:extLst>
              <a:ext uri="{FF2B5EF4-FFF2-40B4-BE49-F238E27FC236}">
                <a16:creationId xmlns:a16="http://schemas.microsoft.com/office/drawing/2014/main" id="{AD040565-F4BF-45F9-8EB6-02C700DE64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28138" y="3805232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A27BF6-985B-4C13-949F-7096DA11950A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8058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98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s (Dar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EE263FC4-B3BF-4198-B246-A58FF8C1DA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8" y="1292801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112D1D8-F166-4F88-B507-30219E1A1C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76878" y="1071349"/>
            <a:ext cx="1066598" cy="1066597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875002"/>
            <a:ext cx="3049588" cy="1107996"/>
          </a:xfrm>
        </p:spPr>
        <p:txBody>
          <a:bodyPr anchor="ctr" anchorCtr="0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35135AB-5B49-4A2B-A09B-EFF95FECF8D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2152" y="1071349"/>
            <a:ext cx="1066598" cy="1066597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FF349B1-3542-4E59-B8B3-3852BB36BFD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2152" y="2400382"/>
            <a:ext cx="1066598" cy="1066597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1B1FC8CD-D4CE-4E11-90DE-BDAEAE7935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76878" y="3729415"/>
            <a:ext cx="1066598" cy="1066597"/>
          </a:xfrm>
          <a:prstGeom prst="ellipse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B9366CB7-32DA-4E9E-99FC-DE95447593E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82152" y="5058448"/>
            <a:ext cx="1066598" cy="1066597"/>
          </a:xfrm>
          <a:prstGeom prst="ellipse">
            <a:avLst/>
          </a:prstGeo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72F775E8-A22B-4C7B-A7AF-7A6E5B4B25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82152" y="3729415"/>
            <a:ext cx="1066598" cy="1066597"/>
          </a:xfrm>
          <a:prstGeom prst="ellipse">
            <a:avLst/>
          </a:prstGeom>
          <a:blipFill>
            <a:blip r:embed="rId8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98BEEA61-F657-4A84-A5AD-517F0892DC2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76878" y="2400382"/>
            <a:ext cx="1066598" cy="1066597"/>
          </a:xfrm>
          <a:prstGeom prst="ellipse">
            <a:avLst/>
          </a:prstGeom>
          <a:blipFill>
            <a:blip r:embed="rId9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10BDC96E-E4BB-46C7-8B26-69C0CC4A1D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6878" y="5058448"/>
            <a:ext cx="1066598" cy="1066597"/>
          </a:xfrm>
          <a:prstGeom prst="ellipse">
            <a:avLst/>
          </a:prstGeom>
          <a:blipFill>
            <a:blip r:embed="rId10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7C4BEF10-7F26-49CE-9D86-B24AFAE8B98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28138" y="1647969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A0245B7A-36B7-48DD-8BF2-091A694BA5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24450" y="1292801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B12401EB-21B8-49A0-87B6-9030A3923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24450" y="1647969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2" name="Text Placeholder 57">
            <a:extLst>
              <a:ext uri="{FF2B5EF4-FFF2-40B4-BE49-F238E27FC236}">
                <a16:creationId xmlns:a16="http://schemas.microsoft.com/office/drawing/2014/main" id="{B1E36713-F111-4648-B34F-AAFF8DEC16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24450" y="2621620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C7941355-3F61-4691-8CBE-A8EE5B41B8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24450" y="2976788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D4C3AF58-54F1-4682-B4D9-555CBA584B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24450" y="3950653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5" name="Text Placeholder 57">
            <a:extLst>
              <a:ext uri="{FF2B5EF4-FFF2-40B4-BE49-F238E27FC236}">
                <a16:creationId xmlns:a16="http://schemas.microsoft.com/office/drawing/2014/main" id="{A102C3EE-ADA7-4748-833E-59DB5769D8D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24450" y="4305821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6" name="Text Placeholder 57">
            <a:extLst>
              <a:ext uri="{FF2B5EF4-FFF2-40B4-BE49-F238E27FC236}">
                <a16:creationId xmlns:a16="http://schemas.microsoft.com/office/drawing/2014/main" id="{93F601CD-C12B-4912-A9BA-1EECAE448C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24450" y="5279686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7" name="Text Placeholder 57">
            <a:extLst>
              <a:ext uri="{FF2B5EF4-FFF2-40B4-BE49-F238E27FC236}">
                <a16:creationId xmlns:a16="http://schemas.microsoft.com/office/drawing/2014/main" id="{20C48A33-763A-47D3-A206-1BBD3A417D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4450" y="5634854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8" name="Text Placeholder 57">
            <a:extLst>
              <a:ext uri="{FF2B5EF4-FFF2-40B4-BE49-F238E27FC236}">
                <a16:creationId xmlns:a16="http://schemas.microsoft.com/office/drawing/2014/main" id="{D875C94D-753C-4332-A792-6237EEC1F0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28138" y="2621620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9" name="Text Placeholder 57">
            <a:extLst>
              <a:ext uri="{FF2B5EF4-FFF2-40B4-BE49-F238E27FC236}">
                <a16:creationId xmlns:a16="http://schemas.microsoft.com/office/drawing/2014/main" id="{B06D4D8C-8568-423B-AABB-FB8BD683AC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28138" y="2976788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70" name="Text Placeholder 57">
            <a:extLst>
              <a:ext uri="{FF2B5EF4-FFF2-40B4-BE49-F238E27FC236}">
                <a16:creationId xmlns:a16="http://schemas.microsoft.com/office/drawing/2014/main" id="{7D2B1B3D-7A06-472C-AAC7-C6D547DD800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28138" y="3950653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71" name="Text Placeholder 57">
            <a:extLst>
              <a:ext uri="{FF2B5EF4-FFF2-40B4-BE49-F238E27FC236}">
                <a16:creationId xmlns:a16="http://schemas.microsoft.com/office/drawing/2014/main" id="{AD040565-F4BF-45F9-8EB6-02C700DE64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28138" y="4305821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DB9F8BAF-B545-4D72-ADD4-886DC007051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28138" y="5279686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73" name="Text Placeholder 57">
            <a:extLst>
              <a:ext uri="{FF2B5EF4-FFF2-40B4-BE49-F238E27FC236}">
                <a16:creationId xmlns:a16="http://schemas.microsoft.com/office/drawing/2014/main" id="{B0791138-7275-41D5-B115-CD52C7354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28138" y="5634854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B1657C-B1E9-42CB-A481-6FFA6452E93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0599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98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eakers (Dar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875002"/>
            <a:ext cx="3049588" cy="1107996"/>
          </a:xfrm>
        </p:spPr>
        <p:txBody>
          <a:bodyPr anchor="ctr" anchorCtr="0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FF349B1-3542-4E59-B8B3-3852BB36BFD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235926" y="2148588"/>
            <a:ext cx="1066598" cy="1066597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/>
            </a:lvl1pPr>
          </a:lstStyle>
          <a:p>
            <a:pPr marL="228600" lvl="0" indent="-228600"/>
            <a:r>
              <a:rPr lang="en-US" dirty="0"/>
              <a:t> 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72F775E8-A22B-4C7B-A7AF-7A6E5B4B25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972776" y="2148588"/>
            <a:ext cx="1066598" cy="1066597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98BEEA61-F657-4A84-A5AD-517F0892DC2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00663" y="2148588"/>
            <a:ext cx="1066598" cy="1066597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62" name="Text Placeholder 57">
            <a:extLst>
              <a:ext uri="{FF2B5EF4-FFF2-40B4-BE49-F238E27FC236}">
                <a16:creationId xmlns:a16="http://schemas.microsoft.com/office/drawing/2014/main" id="{B1E36713-F111-4648-B34F-AAFF8DEC16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56025" y="3450064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C7941355-3F61-4691-8CBE-A8EE5B41B8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56025" y="3805232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68" name="Text Placeholder 57">
            <a:extLst>
              <a:ext uri="{FF2B5EF4-FFF2-40B4-BE49-F238E27FC236}">
                <a16:creationId xmlns:a16="http://schemas.microsoft.com/office/drawing/2014/main" id="{D875C94D-753C-4332-A792-6237EEC1F0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91288" y="3450064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69" name="Text Placeholder 57">
            <a:extLst>
              <a:ext uri="{FF2B5EF4-FFF2-40B4-BE49-F238E27FC236}">
                <a16:creationId xmlns:a16="http://schemas.microsoft.com/office/drawing/2014/main" id="{B06D4D8C-8568-423B-AABB-FB8BD683AC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91288" y="3805232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70" name="Text Placeholder 57">
            <a:extLst>
              <a:ext uri="{FF2B5EF4-FFF2-40B4-BE49-F238E27FC236}">
                <a16:creationId xmlns:a16="http://schemas.microsoft.com/office/drawing/2014/main" id="{7D2B1B3D-7A06-472C-AAC7-C6D547DD800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28138" y="3450064"/>
            <a:ext cx="2555875" cy="331817"/>
          </a:xfrm>
        </p:spPr>
        <p:txBody>
          <a:bodyPr bIns="36000" anchor="b" anchorCtr="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71" name="Text Placeholder 57">
            <a:extLst>
              <a:ext uri="{FF2B5EF4-FFF2-40B4-BE49-F238E27FC236}">
                <a16:creationId xmlns:a16="http://schemas.microsoft.com/office/drawing/2014/main" id="{AD040565-F4BF-45F9-8EB6-02C700DE64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28138" y="3805232"/>
            <a:ext cx="2555875" cy="285651"/>
          </a:xfrm>
        </p:spPr>
        <p:txBody>
          <a:bodyPr tIns="36000" bIns="0" anchor="t" anchorCtr="0">
            <a:sp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job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A27BF6-985B-4C13-949F-7096DA11950A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4327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  <p15:guide id="2" pos="3976">
          <p15:clr>
            <a:srgbClr val="A4A3A4"/>
          </p15:clr>
        </p15:guide>
        <p15:guide id="3" pos="4838">
          <p15:clr>
            <a:srgbClr val="A4A3A4"/>
          </p15:clr>
        </p15:guide>
        <p15:guide id="4" pos="5700">
          <p15:clr>
            <a:srgbClr val="A4A3A4"/>
          </p15:clr>
        </p15:guide>
        <p15:guide id="5" pos="3114">
          <p15:clr>
            <a:srgbClr val="A4A3A4"/>
          </p15:clr>
        </p15:guide>
        <p15:guide id="6" pos="6562">
          <p15:clr>
            <a:srgbClr val="A4A3A4"/>
          </p15:clr>
        </p15:guide>
        <p15:guide id="7" pos="3228">
          <p15:clr>
            <a:srgbClr val="A4A3A4"/>
          </p15:clr>
        </p15:guide>
        <p15:guide id="8" pos="4089">
          <p15:clr>
            <a:srgbClr val="A4A3A4"/>
          </p15:clr>
        </p15:guide>
        <p15:guide id="9" pos="4951">
          <p15:clr>
            <a:srgbClr val="A4A3A4"/>
          </p15:clr>
        </p15:guide>
        <p15:guide id="10" pos="5813">
          <p15:clr>
            <a:srgbClr val="A4A3A4"/>
          </p15:clr>
        </p15:guide>
        <p15:guide id="11" pos="6698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648209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Logo Hol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5E460CF-60CD-4D04-8BD0-34A76029C4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7" y="2390775"/>
            <a:ext cx="1800225" cy="1800225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4D40D7-DC13-4D28-9957-EA7D59028B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4A1AB8-2EE2-468C-A083-D01CE559E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99263C-FBED-4354-9C78-6D47AE0C6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C87F9B8-D0F5-497C-AE63-5A450E0E1D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01937" y="2390775"/>
            <a:ext cx="1800225" cy="1800225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A7090BA-5395-4466-845D-2FFF88988FC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95887" y="2390775"/>
            <a:ext cx="1800225" cy="1800225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07BD6C02-2D88-4407-AB5F-1B4EE05F3EB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589837" y="2390775"/>
            <a:ext cx="1800225" cy="1800225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266000A8-5305-480E-9CC7-8E85E0C22D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983787" y="2390775"/>
            <a:ext cx="1800225" cy="1800225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CE055F-532B-4004-BBE7-33EB3D1BB5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65643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 Logo Holder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55383348-573F-407C-AC42-10E5B337AC5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987" y="386968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5E460CF-60CD-4D04-8BD0-34A76029C4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7" y="134873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4D40D7-DC13-4D28-9957-EA7D59028B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4A1AB8-2EE2-468C-A083-D01CE559E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99263C-FBED-4354-9C78-6D47AE0C6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C87F9B8-D0F5-497C-AE63-5A450E0E1D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01937" y="134873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A7090BA-5395-4466-845D-2FFF88988FC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95887" y="134873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07BD6C02-2D88-4407-AB5F-1B4EE05F3EB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589837" y="134873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266000A8-5305-480E-9CC7-8E85E0C22D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983787" y="134873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528F52C5-394F-4E1B-B272-53ADE573440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604962" y="2609213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010FBB93-0F37-4614-B044-1F82ABF9CE6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998912" y="2609213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B422470C-0E1C-419C-8572-16476BEE7FA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2862" y="2609213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531AA156-F64E-4378-B7E9-92F3B595809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86812" y="2609213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433BEA04-0693-4052-8B02-BF6FC678BA1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801937" y="386968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B88C8BE9-D35E-4988-80D5-BB7AD3E6AD9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95887" y="386968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18A22AE5-FC27-4F35-A0A4-5A75925CEFE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589837" y="386968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6" name="Picture Placeholder 11">
            <a:extLst>
              <a:ext uri="{FF2B5EF4-FFF2-40B4-BE49-F238E27FC236}">
                <a16:creationId xmlns:a16="http://schemas.microsoft.com/office/drawing/2014/main" id="{E918B138-DFE8-4A19-AB1C-B0F83FA2506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983787" y="3869688"/>
            <a:ext cx="1508761" cy="150876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732F21-ABAA-4FA6-B60B-DE65C01932E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22477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831790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1075AA4-1FA9-4704-A587-D8E88C1D1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BF20186-B31A-47B1-A8CC-7798587AB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7BF9FC5-73CA-47D5-891A-42CBDE799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6881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ep Cy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8552BE03-1563-4153-9F03-4CF477C6D0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9" y="2092044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8D44FBB5-0816-4A67-9A1E-11064CBAD7F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9" y="1687955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48A82D-1FED-420A-9205-FF50EB5B8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A1BF01-A79B-4385-8031-297EE30136DC}"/>
              </a:ext>
            </a:extLst>
          </p:cNvPr>
          <p:cNvGrpSpPr/>
          <p:nvPr userDrawn="1"/>
        </p:nvGrpSpPr>
        <p:grpSpPr>
          <a:xfrm>
            <a:off x="4702794" y="1940301"/>
            <a:ext cx="2786412" cy="2786898"/>
            <a:chOff x="4702794" y="1940301"/>
            <a:chExt cx="2786412" cy="278689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30997DD-D22B-4EFC-9126-67C2C54698BB}"/>
                </a:ext>
              </a:extLst>
            </p:cNvPr>
            <p:cNvSpPr/>
            <p:nvPr/>
          </p:nvSpPr>
          <p:spPr>
            <a:xfrm>
              <a:off x="4702794" y="1940301"/>
              <a:ext cx="2786412" cy="278689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3600" b="1">
                <a:latin typeface="+mj-lt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29FAD213-61FD-4539-A69F-3C32018A24DB}"/>
                </a:ext>
              </a:extLst>
            </p:cNvPr>
            <p:cNvSpPr>
              <a:spLocks/>
            </p:cNvSpPr>
            <p:nvPr/>
          </p:nvSpPr>
          <p:spPr bwMode="auto">
            <a:xfrm rot="2035772" flipH="1">
              <a:off x="6585832" y="2580721"/>
              <a:ext cx="842959" cy="303261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98D6951D-FE9A-4665-95E2-3F19B0E744E3}"/>
                </a:ext>
              </a:extLst>
            </p:cNvPr>
            <p:cNvSpPr>
              <a:spLocks/>
            </p:cNvSpPr>
            <p:nvPr/>
          </p:nvSpPr>
          <p:spPr bwMode="auto">
            <a:xfrm rot="16435772" flipH="1">
              <a:off x="4698038" y="2693600"/>
              <a:ext cx="842959" cy="303261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2768B24A-1E90-4139-8E9B-B4B117E517F1}"/>
                </a:ext>
              </a:extLst>
            </p:cNvPr>
            <p:cNvSpPr>
              <a:spLocks/>
            </p:cNvSpPr>
            <p:nvPr/>
          </p:nvSpPr>
          <p:spPr bwMode="auto">
            <a:xfrm rot="9235772" flipH="1">
              <a:off x="5739691" y="4272038"/>
              <a:ext cx="842959" cy="303261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225B7881-80A4-4DE1-92CC-18F43E2DBF8A}"/>
              </a:ext>
            </a:extLst>
          </p:cNvPr>
          <p:cNvSpPr/>
          <p:nvPr/>
        </p:nvSpPr>
        <p:spPr>
          <a:xfrm flipH="1">
            <a:off x="4010019" y="1247775"/>
            <a:ext cx="4171962" cy="417195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3600" b="1">
              <a:latin typeface="+mj-lt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B58E999-3726-4D0F-8BF9-8CEE579FEB6C}"/>
              </a:ext>
            </a:extLst>
          </p:cNvPr>
          <p:cNvCxnSpPr>
            <a:cxnSpLocks/>
          </p:cNvCxnSpPr>
          <p:nvPr/>
        </p:nvCxnSpPr>
        <p:spPr>
          <a:xfrm>
            <a:off x="407989" y="1650253"/>
            <a:ext cx="3880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BE0BACB-E33E-4E44-9154-E4092F2AE710}"/>
              </a:ext>
            </a:extLst>
          </p:cNvPr>
          <p:cNvCxnSpPr>
            <a:cxnSpLocks/>
          </p:cNvCxnSpPr>
          <p:nvPr/>
        </p:nvCxnSpPr>
        <p:spPr>
          <a:xfrm>
            <a:off x="407989" y="3673720"/>
            <a:ext cx="3880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10D5FE7-615D-41D8-BFE0-EC04DDB70B08}"/>
              </a:ext>
            </a:extLst>
          </p:cNvPr>
          <p:cNvCxnSpPr>
            <a:cxnSpLocks/>
          </p:cNvCxnSpPr>
          <p:nvPr/>
        </p:nvCxnSpPr>
        <p:spPr>
          <a:xfrm>
            <a:off x="7902015" y="3673720"/>
            <a:ext cx="3881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98B8D385-C24B-4777-A949-9567F02FB15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47225" y="1506378"/>
            <a:ext cx="1497600" cy="1497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0FEB6459-32DC-4DA1-A8F5-8F0A8A38CEF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81275" y="3124248"/>
            <a:ext cx="1497600" cy="1497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1A1E17F1-1D9F-4878-AA4D-733B2CB3375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3125" y="3124248"/>
            <a:ext cx="1497600" cy="14976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B5A9EE24-117D-4356-9278-0CDA5ECC9B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989" y="4105580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35">
            <a:extLst>
              <a:ext uri="{FF2B5EF4-FFF2-40B4-BE49-F238E27FC236}">
                <a16:creationId xmlns:a16="http://schemas.microsoft.com/office/drawing/2014/main" id="{FCECF160-D8C9-495C-A20A-8337008055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7989" y="3701491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2" name="Text Placeholder 35">
            <a:extLst>
              <a:ext uri="{FF2B5EF4-FFF2-40B4-BE49-F238E27FC236}">
                <a16:creationId xmlns:a16="http://schemas.microsoft.com/office/drawing/2014/main" id="{3576F2D3-5E56-44DC-B72E-E5651D4085E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78155" y="4105580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7FC4BBC1-5DC6-4EB2-B41F-E08BFBDE682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78155" y="3701491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2F1E10-2173-409F-9727-BE5CD924503A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13451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Cy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8E131E32-D591-4D01-92AB-485CBED924ED}"/>
              </a:ext>
            </a:extLst>
          </p:cNvPr>
          <p:cNvGrpSpPr/>
          <p:nvPr/>
        </p:nvGrpSpPr>
        <p:grpSpPr>
          <a:xfrm>
            <a:off x="4642800" y="1880505"/>
            <a:ext cx="3211200" cy="3211290"/>
            <a:chOff x="4490400" y="1728106"/>
            <a:chExt cx="3211200" cy="321129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C289433E-E4BD-447F-A5D3-E923FF48D138}"/>
                </a:ext>
              </a:extLst>
            </p:cNvPr>
            <p:cNvSpPr/>
            <p:nvPr/>
          </p:nvSpPr>
          <p:spPr>
            <a:xfrm>
              <a:off x="4490400" y="1728106"/>
              <a:ext cx="3211200" cy="321129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3600" b="1">
                <a:latin typeface="+mj-lt"/>
              </a:endParaRPr>
            </a:p>
          </p:txBody>
        </p:sp>
        <p:sp>
          <p:nvSpPr>
            <p:cNvPr id="51" name="Freeform 17">
              <a:extLst>
                <a:ext uri="{FF2B5EF4-FFF2-40B4-BE49-F238E27FC236}">
                  <a16:creationId xmlns:a16="http://schemas.microsoft.com/office/drawing/2014/main" id="{42772CDC-6E6C-420D-900E-FDB16E44FD16}"/>
                </a:ext>
              </a:extLst>
            </p:cNvPr>
            <p:cNvSpPr>
              <a:spLocks/>
            </p:cNvSpPr>
            <p:nvPr/>
          </p:nvSpPr>
          <p:spPr bwMode="auto">
            <a:xfrm rot="19854777" flipH="1">
              <a:off x="5535147" y="1908953"/>
              <a:ext cx="841174" cy="349442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0D540155-5B59-4189-895D-F8654D5FF389}"/>
                </a:ext>
              </a:extLst>
            </p:cNvPr>
            <p:cNvSpPr>
              <a:spLocks/>
            </p:cNvSpPr>
            <p:nvPr/>
          </p:nvSpPr>
          <p:spPr bwMode="auto">
            <a:xfrm rot="13554777" flipH="1">
              <a:off x="4504235" y="3618060"/>
              <a:ext cx="841174" cy="349442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FE10B99A-BD03-430A-9F22-CFE36F812487}"/>
                </a:ext>
              </a:extLst>
            </p:cNvPr>
            <p:cNvSpPr>
              <a:spLocks/>
            </p:cNvSpPr>
            <p:nvPr/>
          </p:nvSpPr>
          <p:spPr bwMode="auto">
            <a:xfrm rot="9054777" flipH="1">
              <a:off x="5815679" y="4409107"/>
              <a:ext cx="841174" cy="349442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1D6D7828-85FD-428A-B05F-5C2C1BC9BEF4}"/>
                </a:ext>
              </a:extLst>
            </p:cNvPr>
            <p:cNvSpPr>
              <a:spLocks/>
            </p:cNvSpPr>
            <p:nvPr/>
          </p:nvSpPr>
          <p:spPr bwMode="auto">
            <a:xfrm rot="2754777" flipH="1">
              <a:off x="6846591" y="2700000"/>
              <a:ext cx="841174" cy="349442"/>
            </a:xfrm>
            <a:custGeom>
              <a:avLst/>
              <a:gdLst>
                <a:gd name="T0" fmla="*/ 601 w 601"/>
                <a:gd name="T1" fmla="*/ 0 h 217"/>
                <a:gd name="T2" fmla="*/ 600 w 601"/>
                <a:gd name="T3" fmla="*/ 0 h 217"/>
                <a:gd name="T4" fmla="*/ 413 w 601"/>
                <a:gd name="T5" fmla="*/ 19 h 217"/>
                <a:gd name="T6" fmla="*/ 0 w 601"/>
                <a:gd name="T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1" h="217">
                  <a:moveTo>
                    <a:pt x="601" y="0"/>
                  </a:moveTo>
                  <a:cubicBezTo>
                    <a:pt x="600" y="0"/>
                    <a:pt x="600" y="0"/>
                    <a:pt x="600" y="0"/>
                  </a:cubicBezTo>
                  <a:cubicBezTo>
                    <a:pt x="537" y="0"/>
                    <a:pt x="474" y="6"/>
                    <a:pt x="413" y="19"/>
                  </a:cubicBezTo>
                  <a:cubicBezTo>
                    <a:pt x="262" y="50"/>
                    <a:pt x="120" y="117"/>
                    <a:pt x="0" y="217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8552BE03-1563-4153-9F03-4CF477C6D0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9" y="2092044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8D44FBB5-0816-4A67-9A1E-11064CBAD7F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9" y="1687955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48A82D-1FED-420A-9205-FF50EB5B8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B58E999-3726-4D0F-8BF9-8CEE579FEB6C}"/>
              </a:ext>
            </a:extLst>
          </p:cNvPr>
          <p:cNvCxnSpPr>
            <a:cxnSpLocks/>
          </p:cNvCxnSpPr>
          <p:nvPr/>
        </p:nvCxnSpPr>
        <p:spPr>
          <a:xfrm>
            <a:off x="407989" y="1650253"/>
            <a:ext cx="3880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BE0BACB-E33E-4E44-9154-E4092F2AE710}"/>
              </a:ext>
            </a:extLst>
          </p:cNvPr>
          <p:cNvCxnSpPr>
            <a:cxnSpLocks/>
          </p:cNvCxnSpPr>
          <p:nvPr/>
        </p:nvCxnSpPr>
        <p:spPr>
          <a:xfrm>
            <a:off x="407989" y="3673720"/>
            <a:ext cx="3880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745F3B3-A1D3-4410-AA81-B1D93689F8F6}"/>
              </a:ext>
            </a:extLst>
          </p:cNvPr>
          <p:cNvCxnSpPr>
            <a:cxnSpLocks/>
          </p:cNvCxnSpPr>
          <p:nvPr/>
        </p:nvCxnSpPr>
        <p:spPr>
          <a:xfrm>
            <a:off x="7903213" y="1650253"/>
            <a:ext cx="3880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10D5FE7-615D-41D8-BFE0-EC04DDB70B08}"/>
              </a:ext>
            </a:extLst>
          </p:cNvPr>
          <p:cNvCxnSpPr>
            <a:cxnSpLocks/>
          </p:cNvCxnSpPr>
          <p:nvPr/>
        </p:nvCxnSpPr>
        <p:spPr>
          <a:xfrm>
            <a:off x="7902015" y="3673720"/>
            <a:ext cx="3881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0FEB6459-32DC-4DA1-A8F5-8F0A8A38CEF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543977" y="1997966"/>
            <a:ext cx="1209600" cy="1209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1A1E17F1-1D9F-4878-AA4D-733B2CB3375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87198" y="3440667"/>
            <a:ext cx="1756800" cy="17568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B2CDFEC6-77B5-48E1-AD00-558860A3B7D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378155" y="2092044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6D92BE5C-CD11-4FE3-BBAA-4E269EF031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78155" y="1687955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B5A9EE24-117D-4356-9278-0CDA5ECC9B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989" y="4105580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35">
            <a:extLst>
              <a:ext uri="{FF2B5EF4-FFF2-40B4-BE49-F238E27FC236}">
                <a16:creationId xmlns:a16="http://schemas.microsoft.com/office/drawing/2014/main" id="{FCECF160-D8C9-495C-A20A-8337008055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7989" y="3701491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2" name="Text Placeholder 35">
            <a:extLst>
              <a:ext uri="{FF2B5EF4-FFF2-40B4-BE49-F238E27FC236}">
                <a16:creationId xmlns:a16="http://schemas.microsoft.com/office/drawing/2014/main" id="{3576F2D3-5E56-44DC-B72E-E5651D4085E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78155" y="4105580"/>
            <a:ext cx="3405710" cy="887664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7FC4BBC1-5DC6-4EB2-B41F-E08BFBDE682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78155" y="3701491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55" name="Picture Placeholder 18">
            <a:extLst>
              <a:ext uri="{FF2B5EF4-FFF2-40B4-BE49-F238E27FC236}">
                <a16:creationId xmlns:a16="http://schemas.microsoft.com/office/drawing/2014/main" id="{1C0612FC-2E67-4816-A17C-A913B264C31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743222" y="3764734"/>
            <a:ext cx="1209600" cy="1209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98B8D385-C24B-4777-A949-9567F02FB15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52802" y="1774830"/>
            <a:ext cx="1756535" cy="17565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8171A0-C952-4A48-9287-38DF3A85BD7B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65621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ep Cy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25E9D534-D83A-4B31-A3BE-9427DD348BAF}"/>
              </a:ext>
            </a:extLst>
          </p:cNvPr>
          <p:cNvGrpSpPr/>
          <p:nvPr userDrawn="1"/>
        </p:nvGrpSpPr>
        <p:grpSpPr>
          <a:xfrm>
            <a:off x="4500562" y="1862278"/>
            <a:ext cx="3267076" cy="3267070"/>
            <a:chOff x="4500562" y="1662253"/>
            <a:chExt cx="3267076" cy="326707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C512217-6459-4660-9829-4DE5567187F7}"/>
                </a:ext>
              </a:extLst>
            </p:cNvPr>
            <p:cNvSpPr/>
            <p:nvPr/>
          </p:nvSpPr>
          <p:spPr>
            <a:xfrm rot="1639321">
              <a:off x="4500562" y="1662253"/>
              <a:ext cx="3267076" cy="326707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3600" b="1">
                <a:latin typeface="+mj-lt"/>
              </a:endParaRPr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id="{59D28C0B-069A-4D30-B857-D43033D72094}"/>
                </a:ext>
              </a:extLst>
            </p:cNvPr>
            <p:cNvSpPr>
              <a:spLocks/>
            </p:cNvSpPr>
            <p:nvPr/>
          </p:nvSpPr>
          <p:spPr bwMode="auto">
            <a:xfrm rot="1405703" flipH="1">
              <a:off x="6695740" y="2010380"/>
              <a:ext cx="294717" cy="30962"/>
            </a:xfrm>
            <a:custGeom>
              <a:avLst/>
              <a:gdLst>
                <a:gd name="T0" fmla="*/ 188 w 188"/>
                <a:gd name="T1" fmla="*/ 1 h 20"/>
                <a:gd name="T2" fmla="*/ 188 w 188"/>
                <a:gd name="T3" fmla="*/ 0 h 20"/>
                <a:gd name="T4" fmla="*/ 0 w 188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8" h="20">
                  <a:moveTo>
                    <a:pt x="188" y="1"/>
                  </a:moveTo>
                  <a:cubicBezTo>
                    <a:pt x="188" y="0"/>
                    <a:pt x="188" y="0"/>
                    <a:pt x="188" y="0"/>
                  </a:cubicBezTo>
                  <a:cubicBezTo>
                    <a:pt x="124" y="0"/>
                    <a:pt x="61" y="7"/>
                    <a:pt x="0" y="20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245FE08A-350D-4ADF-B528-DE0441A1AB41}"/>
                </a:ext>
              </a:extLst>
            </p:cNvPr>
            <p:cNvSpPr>
              <a:spLocks/>
            </p:cNvSpPr>
            <p:nvPr/>
          </p:nvSpPr>
          <p:spPr bwMode="auto">
            <a:xfrm rot="14365703" flipH="1">
              <a:off x="4628605" y="3890961"/>
              <a:ext cx="294717" cy="30962"/>
            </a:xfrm>
            <a:custGeom>
              <a:avLst/>
              <a:gdLst>
                <a:gd name="T0" fmla="*/ 188 w 188"/>
                <a:gd name="T1" fmla="*/ 1 h 20"/>
                <a:gd name="T2" fmla="*/ 188 w 188"/>
                <a:gd name="T3" fmla="*/ 0 h 20"/>
                <a:gd name="T4" fmla="*/ 0 w 188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8" h="20">
                  <a:moveTo>
                    <a:pt x="188" y="1"/>
                  </a:moveTo>
                  <a:cubicBezTo>
                    <a:pt x="188" y="0"/>
                    <a:pt x="188" y="0"/>
                    <a:pt x="188" y="0"/>
                  </a:cubicBezTo>
                  <a:cubicBezTo>
                    <a:pt x="124" y="0"/>
                    <a:pt x="61" y="7"/>
                    <a:pt x="0" y="20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EE0CA3E0-C143-41E0-AF74-49D1F216DF07}"/>
                </a:ext>
              </a:extLst>
            </p:cNvPr>
            <p:cNvSpPr>
              <a:spLocks/>
            </p:cNvSpPr>
            <p:nvPr/>
          </p:nvSpPr>
          <p:spPr bwMode="auto">
            <a:xfrm rot="18685703" flipH="1">
              <a:off x="4959962" y="2213580"/>
              <a:ext cx="294717" cy="30962"/>
            </a:xfrm>
            <a:custGeom>
              <a:avLst/>
              <a:gdLst>
                <a:gd name="T0" fmla="*/ 188 w 188"/>
                <a:gd name="T1" fmla="*/ 1 h 20"/>
                <a:gd name="T2" fmla="*/ 188 w 188"/>
                <a:gd name="T3" fmla="*/ 0 h 20"/>
                <a:gd name="T4" fmla="*/ 0 w 188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8" h="20">
                  <a:moveTo>
                    <a:pt x="188" y="1"/>
                  </a:moveTo>
                  <a:cubicBezTo>
                    <a:pt x="188" y="0"/>
                    <a:pt x="188" y="0"/>
                    <a:pt x="188" y="0"/>
                  </a:cubicBezTo>
                  <a:cubicBezTo>
                    <a:pt x="124" y="0"/>
                    <a:pt x="61" y="7"/>
                    <a:pt x="0" y="20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9">
              <a:extLst>
                <a:ext uri="{FF2B5EF4-FFF2-40B4-BE49-F238E27FC236}">
                  <a16:creationId xmlns:a16="http://schemas.microsoft.com/office/drawing/2014/main" id="{D2153C8F-EEA8-494D-A76E-24CE12EDC97D}"/>
                </a:ext>
              </a:extLst>
            </p:cNvPr>
            <p:cNvSpPr>
              <a:spLocks/>
            </p:cNvSpPr>
            <p:nvPr/>
          </p:nvSpPr>
          <p:spPr bwMode="auto">
            <a:xfrm rot="10045703" flipH="1">
              <a:off x="6121494" y="4724438"/>
              <a:ext cx="294717" cy="30962"/>
            </a:xfrm>
            <a:custGeom>
              <a:avLst/>
              <a:gdLst>
                <a:gd name="T0" fmla="*/ 188 w 188"/>
                <a:gd name="T1" fmla="*/ 1 h 20"/>
                <a:gd name="T2" fmla="*/ 188 w 188"/>
                <a:gd name="T3" fmla="*/ 0 h 20"/>
                <a:gd name="T4" fmla="*/ 0 w 188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8" h="20">
                  <a:moveTo>
                    <a:pt x="188" y="1"/>
                  </a:moveTo>
                  <a:cubicBezTo>
                    <a:pt x="188" y="0"/>
                    <a:pt x="188" y="0"/>
                    <a:pt x="188" y="0"/>
                  </a:cubicBezTo>
                  <a:cubicBezTo>
                    <a:pt x="124" y="0"/>
                    <a:pt x="61" y="7"/>
                    <a:pt x="0" y="20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CD30E02F-8444-4044-9031-40722B9986B9}"/>
                </a:ext>
              </a:extLst>
            </p:cNvPr>
            <p:cNvSpPr>
              <a:spLocks/>
            </p:cNvSpPr>
            <p:nvPr/>
          </p:nvSpPr>
          <p:spPr bwMode="auto">
            <a:xfrm rot="5725703" flipH="1">
              <a:off x="7375506" y="3562176"/>
              <a:ext cx="294717" cy="30962"/>
            </a:xfrm>
            <a:custGeom>
              <a:avLst/>
              <a:gdLst>
                <a:gd name="T0" fmla="*/ 188 w 188"/>
                <a:gd name="T1" fmla="*/ 1 h 20"/>
                <a:gd name="T2" fmla="*/ 188 w 188"/>
                <a:gd name="T3" fmla="*/ 0 h 20"/>
                <a:gd name="T4" fmla="*/ 0 w 188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8" h="20">
                  <a:moveTo>
                    <a:pt x="188" y="1"/>
                  </a:moveTo>
                  <a:cubicBezTo>
                    <a:pt x="188" y="0"/>
                    <a:pt x="188" y="0"/>
                    <a:pt x="188" y="0"/>
                  </a:cubicBezTo>
                  <a:cubicBezTo>
                    <a:pt x="124" y="0"/>
                    <a:pt x="61" y="7"/>
                    <a:pt x="0" y="20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 type="arrow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B18E50E-C0AB-4B8B-92B8-4AB19A0732CC}"/>
              </a:ext>
            </a:extLst>
          </p:cNvPr>
          <p:cNvCxnSpPr>
            <a:cxnSpLocks/>
          </p:cNvCxnSpPr>
          <p:nvPr userDrawn="1"/>
        </p:nvCxnSpPr>
        <p:spPr>
          <a:xfrm>
            <a:off x="8211486" y="2842234"/>
            <a:ext cx="357252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919AE11-91D3-446A-B111-0F742E754FB0}"/>
              </a:ext>
            </a:extLst>
          </p:cNvPr>
          <p:cNvCxnSpPr>
            <a:cxnSpLocks/>
          </p:cNvCxnSpPr>
          <p:nvPr userDrawn="1"/>
        </p:nvCxnSpPr>
        <p:spPr>
          <a:xfrm>
            <a:off x="7902015" y="4231231"/>
            <a:ext cx="3881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F7EFFC8-4329-4A28-B69C-188B20404E72}"/>
              </a:ext>
            </a:extLst>
          </p:cNvPr>
          <p:cNvCxnSpPr>
            <a:cxnSpLocks/>
          </p:cNvCxnSpPr>
          <p:nvPr userDrawn="1"/>
        </p:nvCxnSpPr>
        <p:spPr>
          <a:xfrm>
            <a:off x="407989" y="1453238"/>
            <a:ext cx="437446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5DAB594-27CE-44F1-BAB6-98C14C464F25}"/>
              </a:ext>
            </a:extLst>
          </p:cNvPr>
          <p:cNvCxnSpPr>
            <a:cxnSpLocks/>
          </p:cNvCxnSpPr>
          <p:nvPr userDrawn="1"/>
        </p:nvCxnSpPr>
        <p:spPr>
          <a:xfrm>
            <a:off x="407989" y="2842234"/>
            <a:ext cx="357252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FE968661-D3A8-45C6-935B-08A434CA061D}"/>
              </a:ext>
            </a:extLst>
          </p:cNvPr>
          <p:cNvCxnSpPr>
            <a:cxnSpLocks/>
          </p:cNvCxnSpPr>
          <p:nvPr userDrawn="1"/>
        </p:nvCxnSpPr>
        <p:spPr>
          <a:xfrm>
            <a:off x="407989" y="4231231"/>
            <a:ext cx="3881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8552BE03-1563-4153-9F03-4CF477C6D0B8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07989" y="1890379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8D44FBB5-0816-4A67-9A1E-11064CBAD7FC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407989" y="1486290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48A82D-1FED-420A-9205-FF50EB5B805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7" y="404812"/>
            <a:ext cx="11376025" cy="10074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0FEB6459-32DC-4DA1-A8F5-8F0A8A38CEF6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6694800" y="2371992"/>
            <a:ext cx="1382400" cy="13824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1A1E17F1-1D9F-4878-AA4D-733B2CB3375E}"/>
              </a:ext>
            </a:extLst>
          </p:cNvPr>
          <p:cNvSpPr>
            <a:spLocks noGrp="1"/>
          </p:cNvSpPr>
          <p:nvPr userDrawn="1">
            <p:ph type="pic" sz="quarter" idx="30" hasCustomPrompt="1"/>
          </p:nvPr>
        </p:nvSpPr>
        <p:spPr>
          <a:xfrm>
            <a:off x="6214837" y="3897758"/>
            <a:ext cx="1382400" cy="13824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B5A9EE24-117D-4356-9278-0CDA5ECC9B11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07989" y="3257888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35">
            <a:extLst>
              <a:ext uri="{FF2B5EF4-FFF2-40B4-BE49-F238E27FC236}">
                <a16:creationId xmlns:a16="http://schemas.microsoft.com/office/drawing/2014/main" id="{FCECF160-D8C9-495C-A20A-83370080554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07989" y="2853799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2" name="Text Placeholder 35">
            <a:extLst>
              <a:ext uri="{FF2B5EF4-FFF2-40B4-BE49-F238E27FC236}">
                <a16:creationId xmlns:a16="http://schemas.microsoft.com/office/drawing/2014/main" id="{3576F2D3-5E56-44DC-B72E-E5651D4085EB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8378155" y="3257888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7FC4BBC1-5DC6-4EB2-B41F-E08BFBDE682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378155" y="2853799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55" name="Picture Placeholder 18">
            <a:extLst>
              <a:ext uri="{FF2B5EF4-FFF2-40B4-BE49-F238E27FC236}">
                <a16:creationId xmlns:a16="http://schemas.microsoft.com/office/drawing/2014/main" id="{1C0612FC-2E67-4816-A17C-A913B264C318}"/>
              </a:ext>
            </a:extLst>
          </p:cNvPr>
          <p:cNvSpPr>
            <a:spLocks noGrp="1"/>
          </p:cNvSpPr>
          <p:nvPr userDrawn="1">
            <p:ph type="pic" sz="quarter" idx="39" hasCustomPrompt="1"/>
          </p:nvPr>
        </p:nvSpPr>
        <p:spPr>
          <a:xfrm>
            <a:off x="4615503" y="3912764"/>
            <a:ext cx="1382400" cy="13824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98B8D385-C24B-4777-A949-9567F02FB157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5391956" y="1444022"/>
            <a:ext cx="1382400" cy="138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100" name="Text Placeholder 35">
            <a:extLst>
              <a:ext uri="{FF2B5EF4-FFF2-40B4-BE49-F238E27FC236}">
                <a16:creationId xmlns:a16="http://schemas.microsoft.com/office/drawing/2014/main" id="{2FEFE8F0-9BAA-4346-BB21-AE04B912909E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407989" y="4667873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1" name="Text Placeholder 35">
            <a:extLst>
              <a:ext uri="{FF2B5EF4-FFF2-40B4-BE49-F238E27FC236}">
                <a16:creationId xmlns:a16="http://schemas.microsoft.com/office/drawing/2014/main" id="{C99D92DC-FF86-40FE-B29A-81222ADC7B00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407989" y="4263784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02" name="Text Placeholder 35">
            <a:extLst>
              <a:ext uri="{FF2B5EF4-FFF2-40B4-BE49-F238E27FC236}">
                <a16:creationId xmlns:a16="http://schemas.microsoft.com/office/drawing/2014/main" id="{B03F4B5C-D836-4E4C-A2EB-DE5761A3FD20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78155" y="4667873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3" name="Text Placeholder 35">
            <a:extLst>
              <a:ext uri="{FF2B5EF4-FFF2-40B4-BE49-F238E27FC236}">
                <a16:creationId xmlns:a16="http://schemas.microsoft.com/office/drawing/2014/main" id="{BD7432FC-8E33-4D4A-9C94-1BD0E1D05DF5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78155" y="4263784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05" name="Picture Placeholder 18">
            <a:extLst>
              <a:ext uri="{FF2B5EF4-FFF2-40B4-BE49-F238E27FC236}">
                <a16:creationId xmlns:a16="http://schemas.microsoft.com/office/drawing/2014/main" id="{BFC280A5-9513-416C-8C61-E8C8CEE671F9}"/>
              </a:ext>
            </a:extLst>
          </p:cNvPr>
          <p:cNvSpPr>
            <a:spLocks noGrp="1"/>
          </p:cNvSpPr>
          <p:nvPr userDrawn="1">
            <p:ph type="pic" sz="quarter" idx="45" hasCustomPrompt="1"/>
          </p:nvPr>
        </p:nvSpPr>
        <p:spPr>
          <a:xfrm>
            <a:off x="4106791" y="2396414"/>
            <a:ext cx="1382400" cy="13824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EE76D8-B8E0-4A74-BC7F-4F42B765ABC3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39185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ep Cy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E434940-7559-4041-A9F9-0DF5F3567311}"/>
              </a:ext>
            </a:extLst>
          </p:cNvPr>
          <p:cNvGrpSpPr/>
          <p:nvPr userDrawn="1"/>
        </p:nvGrpSpPr>
        <p:grpSpPr>
          <a:xfrm>
            <a:off x="3962400" y="1182148"/>
            <a:ext cx="4343400" cy="4343392"/>
            <a:chOff x="3962400" y="1182148"/>
            <a:chExt cx="4343400" cy="4343392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97068049-9E9C-4AB6-9ED8-B5CB565293A5}"/>
                </a:ext>
              </a:extLst>
            </p:cNvPr>
            <p:cNvSpPr/>
            <p:nvPr/>
          </p:nvSpPr>
          <p:spPr>
            <a:xfrm>
              <a:off x="4500562" y="1720309"/>
              <a:ext cx="3267076" cy="326707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en-US" sz="3600" b="1">
                <a:latin typeface="+mj-lt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542CFC9C-095F-4B94-A8F5-C216A77EFFF4}"/>
                </a:ext>
              </a:extLst>
            </p:cNvPr>
            <p:cNvGrpSpPr/>
            <p:nvPr/>
          </p:nvGrpSpPr>
          <p:grpSpPr>
            <a:xfrm rot="20663140">
              <a:off x="4928258" y="2358665"/>
              <a:ext cx="2665070" cy="2434571"/>
              <a:chOff x="5344949" y="2692885"/>
              <a:chExt cx="1655223" cy="1512065"/>
            </a:xfrm>
          </p:grpSpPr>
          <p:sp>
            <p:nvSpPr>
              <p:cNvPr id="91" name="Freeform 18">
                <a:extLst>
                  <a:ext uri="{FF2B5EF4-FFF2-40B4-BE49-F238E27FC236}">
                    <a16:creationId xmlns:a16="http://schemas.microsoft.com/office/drawing/2014/main" id="{5A557AD1-06A3-429C-A17C-67C2D6FC16E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344949" y="2692885"/>
                <a:ext cx="106835" cy="148144"/>
              </a:xfrm>
              <a:custGeom>
                <a:avLst/>
                <a:gdLst>
                  <a:gd name="T0" fmla="*/ 110 w 110"/>
                  <a:gd name="T1" fmla="*/ 153 h 153"/>
                  <a:gd name="T2" fmla="*/ 110 w 110"/>
                  <a:gd name="T3" fmla="*/ 153 h 153"/>
                  <a:gd name="T4" fmla="*/ 0 w 110"/>
                  <a:gd name="T5" fmla="*/ 0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0" h="153">
                    <a:moveTo>
                      <a:pt x="110" y="153"/>
                    </a:moveTo>
                    <a:cubicBezTo>
                      <a:pt x="110" y="153"/>
                      <a:pt x="110" y="153"/>
                      <a:pt x="110" y="153"/>
                    </a:cubicBezTo>
                    <a:cubicBezTo>
                      <a:pt x="79" y="98"/>
                      <a:pt x="41" y="47"/>
                      <a:pt x="0" y="0"/>
                    </a:cubicBezTo>
                  </a:path>
                </a:pathLst>
              </a:cu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 type="arrow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indent="0">
                  <a:buFont typeface="Arial" panose="020B0604020202020204" pitchFamily="34" charset="0"/>
                  <a:buNone/>
                </a:pPr>
                <a:endParaRPr lang="en-US"/>
              </a:p>
            </p:txBody>
          </p:sp>
          <p:sp>
            <p:nvSpPr>
              <p:cNvPr id="92" name="Freeform 20">
                <a:extLst>
                  <a:ext uri="{FF2B5EF4-FFF2-40B4-BE49-F238E27FC236}">
                    <a16:creationId xmlns:a16="http://schemas.microsoft.com/office/drawing/2014/main" id="{B070BC1C-33C1-4074-AC0D-8088E6060A0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924676" y="2841029"/>
                <a:ext cx="75496" cy="167374"/>
              </a:xfrm>
              <a:custGeom>
                <a:avLst/>
                <a:gdLst>
                  <a:gd name="T0" fmla="*/ 78 w 78"/>
                  <a:gd name="T1" fmla="*/ 0 h 173"/>
                  <a:gd name="T2" fmla="*/ 77 w 78"/>
                  <a:gd name="T3" fmla="*/ 0 h 173"/>
                  <a:gd name="T4" fmla="*/ 0 w 78"/>
                  <a:gd name="T5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" h="173">
                    <a:moveTo>
                      <a:pt x="78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46" y="55"/>
                      <a:pt x="20" y="113"/>
                      <a:pt x="0" y="173"/>
                    </a:cubicBezTo>
                  </a:path>
                </a:pathLst>
              </a:cu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 type="arrow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indent="0">
                  <a:buFont typeface="Arial" panose="020B0604020202020204" pitchFamily="34" charset="0"/>
                  <a:buNone/>
                </a:pPr>
                <a:endParaRPr lang="en-US"/>
              </a:p>
            </p:txBody>
          </p:sp>
          <p:sp>
            <p:nvSpPr>
              <p:cNvPr id="93" name="Freeform 22">
                <a:extLst>
                  <a:ext uri="{FF2B5EF4-FFF2-40B4-BE49-F238E27FC236}">
                    <a16:creationId xmlns:a16="http://schemas.microsoft.com/office/drawing/2014/main" id="{7E226681-5C0D-4724-8383-5DC8F39D29A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951769" y="4186432"/>
                <a:ext cx="182331" cy="18518"/>
              </a:xfrm>
              <a:custGeom>
                <a:avLst/>
                <a:gdLst>
                  <a:gd name="T0" fmla="*/ 0 w 188"/>
                  <a:gd name="T1" fmla="*/ 18 h 19"/>
                  <a:gd name="T2" fmla="*/ 0 w 188"/>
                  <a:gd name="T3" fmla="*/ 19 h 19"/>
                  <a:gd name="T4" fmla="*/ 188 w 18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8" h="19">
                    <a:moveTo>
                      <a:pt x="0" y="18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63" y="19"/>
                      <a:pt x="126" y="12"/>
                      <a:pt x="188" y="0"/>
                    </a:cubicBezTo>
                  </a:path>
                </a:pathLst>
              </a:cu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 type="arrow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indent="0">
                  <a:buFont typeface="Arial" panose="020B0604020202020204" pitchFamily="34" charset="0"/>
                  <a:buNone/>
                </a:pPr>
                <a:endParaRPr lang="en-US"/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96A6398B-0687-499A-A3EF-3864749ECD92}"/>
                </a:ext>
              </a:extLst>
            </p:cNvPr>
            <p:cNvGrpSpPr/>
            <p:nvPr/>
          </p:nvGrpSpPr>
          <p:grpSpPr>
            <a:xfrm rot="21366382">
              <a:off x="4721545" y="1896038"/>
              <a:ext cx="2667364" cy="2439158"/>
              <a:chOff x="5268028" y="2386626"/>
              <a:chExt cx="1656648" cy="1514914"/>
            </a:xfrm>
          </p:grpSpPr>
          <p:sp>
            <p:nvSpPr>
              <p:cNvPr id="88" name="Freeform 19">
                <a:extLst>
                  <a:ext uri="{FF2B5EF4-FFF2-40B4-BE49-F238E27FC236}">
                    <a16:creationId xmlns:a16="http://schemas.microsoft.com/office/drawing/2014/main" id="{52B27D6F-750C-4E87-9F46-CB20F0ACCC2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134100" y="2386626"/>
                <a:ext cx="183043" cy="19230"/>
              </a:xfrm>
              <a:custGeom>
                <a:avLst/>
                <a:gdLst>
                  <a:gd name="T0" fmla="*/ 188 w 188"/>
                  <a:gd name="T1" fmla="*/ 1 h 20"/>
                  <a:gd name="T2" fmla="*/ 188 w 188"/>
                  <a:gd name="T3" fmla="*/ 0 h 20"/>
                  <a:gd name="T4" fmla="*/ 0 w 188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8" h="20">
                    <a:moveTo>
                      <a:pt x="188" y="1"/>
                    </a:moveTo>
                    <a:cubicBezTo>
                      <a:pt x="188" y="0"/>
                      <a:pt x="188" y="0"/>
                      <a:pt x="188" y="0"/>
                    </a:cubicBezTo>
                    <a:cubicBezTo>
                      <a:pt x="124" y="0"/>
                      <a:pt x="61" y="7"/>
                      <a:pt x="0" y="20"/>
                    </a:cubicBezTo>
                  </a:path>
                </a:pathLst>
              </a:cu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 type="arrow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indent="0">
                  <a:buFont typeface="Arial" panose="020B0604020202020204" pitchFamily="34" charset="0"/>
                  <a:buNone/>
                </a:pPr>
                <a:endParaRPr lang="en-US"/>
              </a:p>
            </p:txBody>
          </p:sp>
          <p:sp>
            <p:nvSpPr>
              <p:cNvPr id="89" name="Freeform 21">
                <a:extLst>
                  <a:ext uri="{FF2B5EF4-FFF2-40B4-BE49-F238E27FC236}">
                    <a16:creationId xmlns:a16="http://schemas.microsoft.com/office/drawing/2014/main" id="{0148AA9A-F791-4EE1-8751-874899E8757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817841" y="3751972"/>
                <a:ext cx="106835" cy="149568"/>
              </a:xfrm>
              <a:custGeom>
                <a:avLst/>
                <a:gdLst>
                  <a:gd name="T0" fmla="*/ 0 w 110"/>
                  <a:gd name="T1" fmla="*/ 0 h 154"/>
                  <a:gd name="T2" fmla="*/ 0 w 110"/>
                  <a:gd name="T3" fmla="*/ 1 h 154"/>
                  <a:gd name="T4" fmla="*/ 110 w 110"/>
                  <a:gd name="T5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0" h="154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2" y="56"/>
                      <a:pt x="69" y="107"/>
                      <a:pt x="110" y="154"/>
                    </a:cubicBezTo>
                  </a:path>
                </a:pathLst>
              </a:cu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 type="arrow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indent="0">
                  <a:buFont typeface="Arial" panose="020B0604020202020204" pitchFamily="34" charset="0"/>
                  <a:buNone/>
                </a:pPr>
                <a:endParaRPr lang="en-US"/>
              </a:p>
            </p:txBody>
          </p:sp>
          <p:sp>
            <p:nvSpPr>
              <p:cNvPr id="90" name="Freeform 23">
                <a:extLst>
                  <a:ext uri="{FF2B5EF4-FFF2-40B4-BE49-F238E27FC236}">
                    <a16:creationId xmlns:a16="http://schemas.microsoft.com/office/drawing/2014/main" id="{0465E06E-A8C3-45A2-A1D6-6C0A7EBA541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268028" y="3583173"/>
                <a:ext cx="76209" cy="165950"/>
              </a:xfrm>
              <a:custGeom>
                <a:avLst/>
                <a:gdLst>
                  <a:gd name="T0" fmla="*/ 0 w 78"/>
                  <a:gd name="T1" fmla="*/ 172 h 172"/>
                  <a:gd name="T2" fmla="*/ 0 w 78"/>
                  <a:gd name="T3" fmla="*/ 172 h 172"/>
                  <a:gd name="T4" fmla="*/ 78 w 78"/>
                  <a:gd name="T5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" h="172">
                    <a:moveTo>
                      <a:pt x="0" y="172"/>
                    </a:moveTo>
                    <a:cubicBezTo>
                      <a:pt x="0" y="172"/>
                      <a:pt x="0" y="172"/>
                      <a:pt x="0" y="172"/>
                    </a:cubicBezTo>
                    <a:cubicBezTo>
                      <a:pt x="32" y="117"/>
                      <a:pt x="58" y="60"/>
                      <a:pt x="78" y="0"/>
                    </a:cubicBezTo>
                  </a:path>
                </a:pathLst>
              </a:cu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 type="arrow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indent="0">
                  <a:buFont typeface="Arial" panose="020B0604020202020204" pitchFamily="34" charset="0"/>
                  <a:buNone/>
                </a:pPr>
                <a:endParaRPr lang="en-US"/>
              </a:p>
            </p:txBody>
          </p:sp>
        </p:grp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3C7739D-8BC1-4056-B29E-95C7CA15BDCF}"/>
                </a:ext>
              </a:extLst>
            </p:cNvPr>
            <p:cNvSpPr/>
            <p:nvPr/>
          </p:nvSpPr>
          <p:spPr>
            <a:xfrm>
              <a:off x="3962400" y="1182148"/>
              <a:ext cx="4343400" cy="434339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None/>
              </a:pPr>
              <a:endParaRPr lang="en-US" sz="3600" b="1">
                <a:latin typeface="+mj-lt"/>
              </a:endParaRPr>
            </a:p>
          </p:txBody>
        </p:sp>
      </p:grp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F2B03E09-1711-4A96-A8BF-6FD2252A3E83}"/>
              </a:ext>
            </a:extLst>
          </p:cNvPr>
          <p:cNvCxnSpPr>
            <a:cxnSpLocks/>
          </p:cNvCxnSpPr>
          <p:nvPr/>
        </p:nvCxnSpPr>
        <p:spPr>
          <a:xfrm>
            <a:off x="7409549" y="1453238"/>
            <a:ext cx="43744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B18E50E-C0AB-4B8B-92B8-4AB19A0732CC}"/>
              </a:ext>
            </a:extLst>
          </p:cNvPr>
          <p:cNvCxnSpPr>
            <a:cxnSpLocks/>
          </p:cNvCxnSpPr>
          <p:nvPr/>
        </p:nvCxnSpPr>
        <p:spPr>
          <a:xfrm>
            <a:off x="8211486" y="2842234"/>
            <a:ext cx="357252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919AE11-91D3-446A-B111-0F742E754FB0}"/>
              </a:ext>
            </a:extLst>
          </p:cNvPr>
          <p:cNvCxnSpPr>
            <a:cxnSpLocks/>
          </p:cNvCxnSpPr>
          <p:nvPr/>
        </p:nvCxnSpPr>
        <p:spPr>
          <a:xfrm>
            <a:off x="7902015" y="4231231"/>
            <a:ext cx="3881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F7EFFC8-4329-4A28-B69C-188B20404E72}"/>
              </a:ext>
            </a:extLst>
          </p:cNvPr>
          <p:cNvCxnSpPr>
            <a:cxnSpLocks/>
          </p:cNvCxnSpPr>
          <p:nvPr/>
        </p:nvCxnSpPr>
        <p:spPr>
          <a:xfrm>
            <a:off x="407989" y="1453238"/>
            <a:ext cx="437446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5DAB594-27CE-44F1-BAB6-98C14C464F25}"/>
              </a:ext>
            </a:extLst>
          </p:cNvPr>
          <p:cNvCxnSpPr>
            <a:cxnSpLocks/>
          </p:cNvCxnSpPr>
          <p:nvPr/>
        </p:nvCxnSpPr>
        <p:spPr>
          <a:xfrm>
            <a:off x="407989" y="2842234"/>
            <a:ext cx="357252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FE968661-D3A8-45C6-935B-08A434CA061D}"/>
              </a:ext>
            </a:extLst>
          </p:cNvPr>
          <p:cNvCxnSpPr>
            <a:cxnSpLocks/>
          </p:cNvCxnSpPr>
          <p:nvPr/>
        </p:nvCxnSpPr>
        <p:spPr>
          <a:xfrm>
            <a:off x="407989" y="4231231"/>
            <a:ext cx="3881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8552BE03-1563-4153-9F03-4CF477C6D0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9" y="1890379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8D44FBB5-0816-4A67-9A1E-11064CBAD7F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9" y="1486290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832AD-985D-4D13-ADFF-E382CC2C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F3331A-221C-4BB7-BE2C-92316653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48A82D-1FED-420A-9205-FF50EB5B8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04812"/>
            <a:ext cx="11376025" cy="10074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0FEB6459-32DC-4DA1-A8F5-8F0A8A38CEF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426188" y="1569356"/>
            <a:ext cx="939600" cy="939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1A1E17F1-1D9F-4878-AA4D-733B2CB3375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755362" y="2613599"/>
            <a:ext cx="1479600" cy="14796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B2CDFEC6-77B5-48E1-AD00-558860A3B7D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378155" y="1890379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9" name="Text Placeholder 35">
            <a:extLst>
              <a:ext uri="{FF2B5EF4-FFF2-40B4-BE49-F238E27FC236}">
                <a16:creationId xmlns:a16="http://schemas.microsoft.com/office/drawing/2014/main" id="{6D92BE5C-CD11-4FE3-BBAA-4E269EF031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78155" y="1486290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B5A9EE24-117D-4356-9278-0CDA5ECC9B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989" y="3257888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35">
            <a:extLst>
              <a:ext uri="{FF2B5EF4-FFF2-40B4-BE49-F238E27FC236}">
                <a16:creationId xmlns:a16="http://schemas.microsoft.com/office/drawing/2014/main" id="{FCECF160-D8C9-495C-A20A-8337008055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7989" y="2853799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2" name="Text Placeholder 35">
            <a:extLst>
              <a:ext uri="{FF2B5EF4-FFF2-40B4-BE49-F238E27FC236}">
                <a16:creationId xmlns:a16="http://schemas.microsoft.com/office/drawing/2014/main" id="{3576F2D3-5E56-44DC-B72E-E5651D4085E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78155" y="3257888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35">
            <a:extLst>
              <a:ext uri="{FF2B5EF4-FFF2-40B4-BE49-F238E27FC236}">
                <a16:creationId xmlns:a16="http://schemas.microsoft.com/office/drawing/2014/main" id="{7FC4BBC1-5DC6-4EB2-B41F-E08BFBDE682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78155" y="2853799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55" name="Picture Placeholder 18">
            <a:extLst>
              <a:ext uri="{FF2B5EF4-FFF2-40B4-BE49-F238E27FC236}">
                <a16:creationId xmlns:a16="http://schemas.microsoft.com/office/drawing/2014/main" id="{1C0612FC-2E67-4816-A17C-A913B264C31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424558" y="4198732"/>
            <a:ext cx="939600" cy="939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98B8D385-C24B-4777-A949-9567F02FB15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14516" y="1435317"/>
            <a:ext cx="1479600" cy="1479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100" name="Text Placeholder 35">
            <a:extLst>
              <a:ext uri="{FF2B5EF4-FFF2-40B4-BE49-F238E27FC236}">
                <a16:creationId xmlns:a16="http://schemas.microsoft.com/office/drawing/2014/main" id="{2FEFE8F0-9BAA-4346-BB21-AE04B91290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07989" y="4667873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1" name="Text Placeholder 35">
            <a:extLst>
              <a:ext uri="{FF2B5EF4-FFF2-40B4-BE49-F238E27FC236}">
                <a16:creationId xmlns:a16="http://schemas.microsoft.com/office/drawing/2014/main" id="{C99D92DC-FF86-40FE-B29A-81222ADC7B0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7989" y="4263784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02" name="Text Placeholder 35">
            <a:extLst>
              <a:ext uri="{FF2B5EF4-FFF2-40B4-BE49-F238E27FC236}">
                <a16:creationId xmlns:a16="http://schemas.microsoft.com/office/drawing/2014/main" id="{B03F4B5C-D836-4E4C-A2EB-DE5761A3F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78155" y="4667873"/>
            <a:ext cx="3405710" cy="703837"/>
          </a:xfrm>
        </p:spPr>
        <p:txBody>
          <a:bodyPr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3" name="Text Placeholder 35">
            <a:extLst>
              <a:ext uri="{FF2B5EF4-FFF2-40B4-BE49-F238E27FC236}">
                <a16:creationId xmlns:a16="http://schemas.microsoft.com/office/drawing/2014/main" id="{BD7432FC-8E33-4D4A-9C94-1BD0E1D05D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78155" y="4263784"/>
            <a:ext cx="3405710" cy="364129"/>
          </a:xfrm>
        </p:spPr>
        <p:txBody>
          <a:bodyPr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04" name="Picture Placeholder 18">
            <a:extLst>
              <a:ext uri="{FF2B5EF4-FFF2-40B4-BE49-F238E27FC236}">
                <a16:creationId xmlns:a16="http://schemas.microsoft.com/office/drawing/2014/main" id="{EE46A045-14C2-4E61-8827-7C151F1AAFD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713627" y="3792771"/>
            <a:ext cx="1479600" cy="1479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105" name="Picture Placeholder 18">
            <a:extLst>
              <a:ext uri="{FF2B5EF4-FFF2-40B4-BE49-F238E27FC236}">
                <a16:creationId xmlns:a16="http://schemas.microsoft.com/office/drawing/2014/main" id="{BFC280A5-9513-416C-8C61-E8C8CEE671F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147668" y="2883229"/>
            <a:ext cx="939600" cy="9396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3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3CB2B1-92EB-4516-A0BB-E4F93CDFDD51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96252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C1998-3830-46FA-A881-650333279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93F42C-6344-4492-B7FF-4B53FC8F5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07E562-429B-42CC-9575-CF8326E8F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F370899-5671-4D11-8BA2-CF903E4BEC43}"/>
              </a:ext>
            </a:extLst>
          </p:cNvPr>
          <p:cNvGrpSpPr/>
          <p:nvPr userDrawn="1"/>
        </p:nvGrpSpPr>
        <p:grpSpPr>
          <a:xfrm>
            <a:off x="0" y="1968830"/>
            <a:ext cx="11945257" cy="2778372"/>
            <a:chOff x="0" y="1968830"/>
            <a:chExt cx="11945257" cy="2778372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5D44C15-763F-4FE8-93CB-533B31475002}"/>
                </a:ext>
              </a:extLst>
            </p:cNvPr>
            <p:cNvCxnSpPr/>
            <p:nvPr/>
          </p:nvCxnSpPr>
          <p:spPr>
            <a:xfrm>
              <a:off x="407988" y="3358016"/>
              <a:ext cx="11537269" cy="0"/>
            </a:xfrm>
            <a:prstGeom prst="line">
              <a:avLst/>
            </a:prstGeom>
            <a:ln w="25400">
              <a:solidFill>
                <a:srgbClr val="3F444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2AEE514-9BD9-4172-B487-93F515E8CB18}"/>
                </a:ext>
              </a:extLst>
            </p:cNvPr>
            <p:cNvSpPr/>
            <p:nvPr/>
          </p:nvSpPr>
          <p:spPr>
            <a:xfrm>
              <a:off x="0" y="1968830"/>
              <a:ext cx="1059544" cy="2778372"/>
            </a:xfrm>
            <a:custGeom>
              <a:avLst/>
              <a:gdLst>
                <a:gd name="connsiteX0" fmla="*/ 0 w 1059544"/>
                <a:gd name="connsiteY0" fmla="*/ 0 h 2778372"/>
                <a:gd name="connsiteX1" fmla="*/ 46259 w 1059544"/>
                <a:gd name="connsiteY1" fmla="*/ 11894 h 2778372"/>
                <a:gd name="connsiteX2" fmla="*/ 1059544 w 1059544"/>
                <a:gd name="connsiteY2" fmla="*/ 1389186 h 2778372"/>
                <a:gd name="connsiteX3" fmla="*/ 46259 w 1059544"/>
                <a:gd name="connsiteY3" fmla="*/ 2766478 h 2778372"/>
                <a:gd name="connsiteX4" fmla="*/ 0 w 1059544"/>
                <a:gd name="connsiteY4" fmla="*/ 2778372 h 2778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9544" h="2778372">
                  <a:moveTo>
                    <a:pt x="0" y="0"/>
                  </a:moveTo>
                  <a:lnTo>
                    <a:pt x="46259" y="11894"/>
                  </a:lnTo>
                  <a:cubicBezTo>
                    <a:pt x="633305" y="194484"/>
                    <a:pt x="1059544" y="742058"/>
                    <a:pt x="1059544" y="1389186"/>
                  </a:cubicBezTo>
                  <a:cubicBezTo>
                    <a:pt x="1059544" y="2036314"/>
                    <a:pt x="633305" y="2583888"/>
                    <a:pt x="46259" y="2766478"/>
                  </a:cubicBezTo>
                  <a:lnTo>
                    <a:pt x="0" y="277837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2400">
                <a:latin typeface="+mj-lt"/>
              </a:endParaRPr>
            </a:p>
          </p:txBody>
        </p:sp>
      </p:grp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6E84730B-415B-4203-8C20-CE292929B9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3958" y="1524000"/>
            <a:ext cx="1787525" cy="1825789"/>
          </a:xfrm>
          <a:noFill/>
          <a:ln w="25400">
            <a:gradFill flip="none" rotWithShape="1">
              <a:gsLst>
                <a:gs pos="1000">
                  <a:schemeClr val="accent1"/>
                </a:gs>
                <a:gs pos="1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miter lim="800000"/>
          </a:ln>
        </p:spPr>
        <p:txBody>
          <a:bodyPr lIns="7200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milestone</a:t>
            </a:r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28A331D2-2421-43CB-A08C-595DFE7210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63817" y="1524000"/>
            <a:ext cx="1787525" cy="1825789"/>
          </a:xfrm>
          <a:noFill/>
          <a:ln w="25400">
            <a:gradFill flip="none" rotWithShape="1">
              <a:gsLst>
                <a:gs pos="1000">
                  <a:schemeClr val="accent1"/>
                </a:gs>
                <a:gs pos="1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miter lim="800000"/>
          </a:ln>
        </p:spPr>
        <p:txBody>
          <a:bodyPr lIns="7200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milestone</a:t>
            </a:r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60D843D7-3BF3-4DC3-97FE-80C3E2FD88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6460" y="1524000"/>
            <a:ext cx="1787525" cy="1825789"/>
          </a:xfrm>
          <a:noFill/>
          <a:ln w="25400">
            <a:gradFill flip="none" rotWithShape="1">
              <a:gsLst>
                <a:gs pos="1000">
                  <a:schemeClr val="accent1"/>
                </a:gs>
                <a:gs pos="1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miter lim="800000"/>
          </a:ln>
        </p:spPr>
        <p:txBody>
          <a:bodyPr lIns="7200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milestone</a:t>
            </a:r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AE5FE126-9AD7-488E-8378-EDCDD78325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1090" y="3368329"/>
            <a:ext cx="1787525" cy="1825789"/>
          </a:xfrm>
          <a:noFill/>
          <a:ln w="25400">
            <a:gradFill flip="none" rotWithShape="1">
              <a:gsLst>
                <a:gs pos="1000">
                  <a:schemeClr val="accent1"/>
                </a:gs>
                <a:gs pos="1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miter lim="800000"/>
          </a:ln>
        </p:spPr>
        <p:txBody>
          <a:bodyPr lIns="72000" anchor="b" anchorCtr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milestone</a:t>
            </a:r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ABBFB537-DDF1-4DE2-99D0-042BB6A22B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98977" y="3368329"/>
            <a:ext cx="1787525" cy="1825789"/>
          </a:xfrm>
          <a:noFill/>
          <a:ln w="25400">
            <a:gradFill flip="none" rotWithShape="1">
              <a:gsLst>
                <a:gs pos="1000">
                  <a:schemeClr val="accent1"/>
                </a:gs>
                <a:gs pos="1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miter lim="800000"/>
          </a:ln>
        </p:spPr>
        <p:txBody>
          <a:bodyPr lIns="72000" anchor="b" anchorCtr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milesto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14E753-E2D0-4B4F-A656-38F860818D6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62AB8850-6D3A-47BC-B5DD-6DB688A85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99343" y="2973804"/>
            <a:ext cx="766800" cy="766800"/>
          </a:xfrm>
          <a:prstGeom prst="ellipse">
            <a:avLst/>
          </a:prstGeom>
          <a:solidFill>
            <a:schemeClr val="tx1"/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Date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4428CC6D-21FA-4387-B094-71D5A6967A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67369" y="2973804"/>
            <a:ext cx="766800" cy="766800"/>
          </a:xfrm>
          <a:prstGeom prst="ellipse">
            <a:avLst/>
          </a:prstGeom>
          <a:solidFill>
            <a:schemeClr val="tx1"/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Date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CDA3EEF0-3731-43AE-BE53-8DBAEE04BF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5396" y="2973804"/>
            <a:ext cx="766800" cy="766800"/>
          </a:xfrm>
          <a:prstGeom prst="ellipse">
            <a:avLst/>
          </a:prstGeom>
          <a:solidFill>
            <a:schemeClr val="tx1"/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Date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E2BC7461-8200-4AFF-89D2-DD2F9B61088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3423" y="2973804"/>
            <a:ext cx="766800" cy="766800"/>
          </a:xfrm>
          <a:prstGeom prst="ellipse">
            <a:avLst/>
          </a:prstGeom>
          <a:solidFill>
            <a:schemeClr val="tx1"/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Date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99CA30CB-6573-4EC5-A4D4-4714FC626B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271449" y="2973804"/>
            <a:ext cx="766800" cy="766800"/>
          </a:xfrm>
          <a:prstGeom prst="ellipse">
            <a:avLst/>
          </a:prstGeom>
          <a:solidFill>
            <a:schemeClr val="tx1"/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en-US" sz="14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34587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6" y="2559050"/>
            <a:ext cx="3715200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D3461D-2D14-40AF-A11E-E32A29AD5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2FB9-7D18-4174-9B0A-336A77C9A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4CD8BC7-181D-40C3-B655-0B1389F83D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741713"/>
            <a:ext cx="3846513" cy="817200"/>
          </a:xfrm>
          <a:custGeom>
            <a:avLst/>
            <a:gdLst>
              <a:gd name="connsiteX0" fmla="*/ 0 w 3846513"/>
              <a:gd name="connsiteY0" fmla="*/ 0 h 817200"/>
              <a:gd name="connsiteX1" fmla="*/ 752 w 3846513"/>
              <a:gd name="connsiteY1" fmla="*/ 0 h 817200"/>
              <a:gd name="connsiteX2" fmla="*/ 2175412 w 3846513"/>
              <a:gd name="connsiteY2" fmla="*/ 0 h 817200"/>
              <a:gd name="connsiteX3" fmla="*/ 2785012 w 3846513"/>
              <a:gd name="connsiteY3" fmla="*/ 0 h 817200"/>
              <a:gd name="connsiteX4" fmla="*/ 3715287 w 3846513"/>
              <a:gd name="connsiteY4" fmla="*/ 0 h 817200"/>
              <a:gd name="connsiteX5" fmla="*/ 3846513 w 3846513"/>
              <a:gd name="connsiteY5" fmla="*/ 408600 h 817200"/>
              <a:gd name="connsiteX6" fmla="*/ 3715287 w 3846513"/>
              <a:gd name="connsiteY6" fmla="*/ 817200 h 817200"/>
              <a:gd name="connsiteX7" fmla="*/ 2785012 w 3846513"/>
              <a:gd name="connsiteY7" fmla="*/ 817200 h 817200"/>
              <a:gd name="connsiteX8" fmla="*/ 2175412 w 3846513"/>
              <a:gd name="connsiteY8" fmla="*/ 817200 h 817200"/>
              <a:gd name="connsiteX9" fmla="*/ 752 w 3846513"/>
              <a:gd name="connsiteY9" fmla="*/ 817200 h 817200"/>
              <a:gd name="connsiteX10" fmla="*/ 0 w 3846513"/>
              <a:gd name="connsiteY10" fmla="*/ 8172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46513" h="817200">
                <a:moveTo>
                  <a:pt x="0" y="0"/>
                </a:moveTo>
                <a:lnTo>
                  <a:pt x="752" y="0"/>
                </a:lnTo>
                <a:lnTo>
                  <a:pt x="2175412" y="0"/>
                </a:lnTo>
                <a:lnTo>
                  <a:pt x="2785012" y="0"/>
                </a:lnTo>
                <a:lnTo>
                  <a:pt x="3715287" y="0"/>
                </a:lnTo>
                <a:lnTo>
                  <a:pt x="3846513" y="408600"/>
                </a:lnTo>
                <a:lnTo>
                  <a:pt x="3715287" y="817200"/>
                </a:lnTo>
                <a:lnTo>
                  <a:pt x="2785012" y="817200"/>
                </a:lnTo>
                <a:lnTo>
                  <a:pt x="2175412" y="817200"/>
                </a:lnTo>
                <a:lnTo>
                  <a:pt x="752" y="817200"/>
                </a:lnTo>
                <a:lnTo>
                  <a:pt x="0" y="8172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10B4C999-11DB-49A6-8AB3-B2F9DC1BC1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7037" y="2559050"/>
            <a:ext cx="3715200" cy="2876550"/>
          </a:xfrm>
          <a:noFill/>
          <a:ln>
            <a:solidFill>
              <a:schemeClr val="tx2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D429AD1-93FE-42C9-ACB6-DC8300212E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7037" y="1741713"/>
            <a:ext cx="3833812" cy="817200"/>
          </a:xfrm>
          <a:custGeom>
            <a:avLst/>
            <a:gdLst>
              <a:gd name="connsiteX0" fmla="*/ 0 w 3833812"/>
              <a:gd name="connsiteY0" fmla="*/ 0 h 817200"/>
              <a:gd name="connsiteX1" fmla="*/ 932575 w 3833812"/>
              <a:gd name="connsiteY1" fmla="*/ 0 h 817200"/>
              <a:gd name="connsiteX2" fmla="*/ 1533695 w 3833812"/>
              <a:gd name="connsiteY2" fmla="*/ 0 h 817200"/>
              <a:gd name="connsiteX3" fmla="*/ 3713545 w 3833812"/>
              <a:gd name="connsiteY3" fmla="*/ 0 h 817200"/>
              <a:gd name="connsiteX4" fmla="*/ 3713546 w 3833812"/>
              <a:gd name="connsiteY4" fmla="*/ 0 h 817200"/>
              <a:gd name="connsiteX5" fmla="*/ 3833812 w 3833812"/>
              <a:gd name="connsiteY5" fmla="*/ 408600 h 817200"/>
              <a:gd name="connsiteX6" fmla="*/ 3713545 w 3833812"/>
              <a:gd name="connsiteY6" fmla="*/ 817200 h 817200"/>
              <a:gd name="connsiteX7" fmla="*/ 1533695 w 3833812"/>
              <a:gd name="connsiteY7" fmla="*/ 817200 h 817200"/>
              <a:gd name="connsiteX8" fmla="*/ 932575 w 3833812"/>
              <a:gd name="connsiteY8" fmla="*/ 817200 h 817200"/>
              <a:gd name="connsiteX9" fmla="*/ 0 w 3833812"/>
              <a:gd name="connsiteY9" fmla="*/ 817200 h 817200"/>
              <a:gd name="connsiteX10" fmla="*/ 120267 w 3833812"/>
              <a:gd name="connsiteY10" fmla="*/ 4086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33812" h="817200">
                <a:moveTo>
                  <a:pt x="0" y="0"/>
                </a:moveTo>
                <a:lnTo>
                  <a:pt x="932575" y="0"/>
                </a:lnTo>
                <a:lnTo>
                  <a:pt x="1533695" y="0"/>
                </a:lnTo>
                <a:lnTo>
                  <a:pt x="3713545" y="0"/>
                </a:lnTo>
                <a:lnTo>
                  <a:pt x="3713546" y="0"/>
                </a:lnTo>
                <a:lnTo>
                  <a:pt x="3833812" y="408600"/>
                </a:lnTo>
                <a:lnTo>
                  <a:pt x="3713545" y="817200"/>
                </a:lnTo>
                <a:lnTo>
                  <a:pt x="1533695" y="817200"/>
                </a:lnTo>
                <a:lnTo>
                  <a:pt x="932575" y="817200"/>
                </a:lnTo>
                <a:lnTo>
                  <a:pt x="0" y="817200"/>
                </a:lnTo>
                <a:lnTo>
                  <a:pt x="120267" y="408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8A0AAAB-DFCF-4F8D-90DA-DBD0201339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8813" y="2559050"/>
            <a:ext cx="3715200" cy="2876550"/>
          </a:xfrm>
          <a:noFill/>
          <a:ln>
            <a:solidFill>
              <a:schemeClr val="accent6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A12C4F6-CA5C-4C9A-BF79-F0FD42EF0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6088" y="1741713"/>
            <a:ext cx="3717925" cy="817200"/>
          </a:xfrm>
          <a:custGeom>
            <a:avLst/>
            <a:gdLst>
              <a:gd name="connsiteX0" fmla="*/ 0 w 3717925"/>
              <a:gd name="connsiteY0" fmla="*/ 0 h 817200"/>
              <a:gd name="connsiteX1" fmla="*/ 104986 w 3717925"/>
              <a:gd name="connsiteY1" fmla="*/ 0 h 817200"/>
              <a:gd name="connsiteX2" fmla="*/ 604460 w 3717925"/>
              <a:gd name="connsiteY2" fmla="*/ 0 h 817200"/>
              <a:gd name="connsiteX3" fmla="*/ 818271 w 3717925"/>
              <a:gd name="connsiteY3" fmla="*/ 0 h 817200"/>
              <a:gd name="connsiteX4" fmla="*/ 1417808 w 3717925"/>
              <a:gd name="connsiteY4" fmla="*/ 0 h 817200"/>
              <a:gd name="connsiteX5" fmla="*/ 3597658 w 3717925"/>
              <a:gd name="connsiteY5" fmla="*/ 0 h 817200"/>
              <a:gd name="connsiteX6" fmla="*/ 3597659 w 3717925"/>
              <a:gd name="connsiteY6" fmla="*/ 0 h 817200"/>
              <a:gd name="connsiteX7" fmla="*/ 3717925 w 3717925"/>
              <a:gd name="connsiteY7" fmla="*/ 0 h 817200"/>
              <a:gd name="connsiteX8" fmla="*/ 3717925 w 3717925"/>
              <a:gd name="connsiteY8" fmla="*/ 408600 h 817200"/>
              <a:gd name="connsiteX9" fmla="*/ 3717925 w 3717925"/>
              <a:gd name="connsiteY9" fmla="*/ 817200 h 817200"/>
              <a:gd name="connsiteX10" fmla="*/ 3597658 w 3717925"/>
              <a:gd name="connsiteY10" fmla="*/ 817200 h 817200"/>
              <a:gd name="connsiteX11" fmla="*/ 1417808 w 3717925"/>
              <a:gd name="connsiteY11" fmla="*/ 817200 h 817200"/>
              <a:gd name="connsiteX12" fmla="*/ 818271 w 3717925"/>
              <a:gd name="connsiteY12" fmla="*/ 817200 h 817200"/>
              <a:gd name="connsiteX13" fmla="*/ 61231 w 3717925"/>
              <a:gd name="connsiteY13" fmla="*/ 817200 h 817200"/>
              <a:gd name="connsiteX14" fmla="*/ 61231 w 3717925"/>
              <a:gd name="connsiteY14" fmla="*/ 817199 h 817200"/>
              <a:gd name="connsiteX15" fmla="*/ 104985 w 3717925"/>
              <a:gd name="connsiteY15" fmla="*/ 817199 h 817200"/>
              <a:gd name="connsiteX16" fmla="*/ 104985 w 3717925"/>
              <a:gd name="connsiteY16" fmla="*/ 817198 h 817200"/>
              <a:gd name="connsiteX17" fmla="*/ 0 w 3717925"/>
              <a:gd name="connsiteY17" fmla="*/ 817198 h 817200"/>
              <a:gd name="connsiteX18" fmla="*/ 134895 w 3717925"/>
              <a:gd name="connsiteY18" fmla="*/ 408599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17925" h="817200">
                <a:moveTo>
                  <a:pt x="0" y="0"/>
                </a:moveTo>
                <a:lnTo>
                  <a:pt x="104986" y="0"/>
                </a:lnTo>
                <a:lnTo>
                  <a:pt x="604460" y="0"/>
                </a:lnTo>
                <a:lnTo>
                  <a:pt x="818271" y="0"/>
                </a:lnTo>
                <a:lnTo>
                  <a:pt x="1417808" y="0"/>
                </a:lnTo>
                <a:lnTo>
                  <a:pt x="3597658" y="0"/>
                </a:lnTo>
                <a:lnTo>
                  <a:pt x="3597659" y="0"/>
                </a:lnTo>
                <a:lnTo>
                  <a:pt x="3717925" y="0"/>
                </a:lnTo>
                <a:lnTo>
                  <a:pt x="3717925" y="408600"/>
                </a:lnTo>
                <a:lnTo>
                  <a:pt x="3717925" y="817200"/>
                </a:lnTo>
                <a:lnTo>
                  <a:pt x="3597658" y="817200"/>
                </a:lnTo>
                <a:lnTo>
                  <a:pt x="1417808" y="817200"/>
                </a:lnTo>
                <a:lnTo>
                  <a:pt x="818271" y="817200"/>
                </a:lnTo>
                <a:lnTo>
                  <a:pt x="61231" y="817200"/>
                </a:lnTo>
                <a:lnTo>
                  <a:pt x="61231" y="817199"/>
                </a:lnTo>
                <a:lnTo>
                  <a:pt x="104985" y="817199"/>
                </a:lnTo>
                <a:lnTo>
                  <a:pt x="104985" y="817198"/>
                </a:lnTo>
                <a:lnTo>
                  <a:pt x="0" y="817198"/>
                </a:lnTo>
                <a:lnTo>
                  <a:pt x="134895" y="408599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704CDB-E6FE-4205-AAAA-14BA003D765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22841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2559050"/>
            <a:ext cx="2772653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D3461D-2D14-40AF-A11E-E32A29AD5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2FB9-7D18-4174-9B0A-336A77C9A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4A375546-B5E2-4A34-9E57-6FD13BAC4A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741713"/>
            <a:ext cx="2916238" cy="817200"/>
          </a:xfrm>
          <a:custGeom>
            <a:avLst/>
            <a:gdLst>
              <a:gd name="connsiteX0" fmla="*/ 0 w 2916238"/>
              <a:gd name="connsiteY0" fmla="*/ 0 h 817200"/>
              <a:gd name="connsiteX1" fmla="*/ 752 w 2916238"/>
              <a:gd name="connsiteY1" fmla="*/ 0 h 817200"/>
              <a:gd name="connsiteX2" fmla="*/ 2175412 w 2916238"/>
              <a:gd name="connsiteY2" fmla="*/ 0 h 817200"/>
              <a:gd name="connsiteX3" fmla="*/ 2785012 w 2916238"/>
              <a:gd name="connsiteY3" fmla="*/ 0 h 817200"/>
              <a:gd name="connsiteX4" fmla="*/ 2916238 w 2916238"/>
              <a:gd name="connsiteY4" fmla="*/ 408600 h 817200"/>
              <a:gd name="connsiteX5" fmla="*/ 2785012 w 2916238"/>
              <a:gd name="connsiteY5" fmla="*/ 817200 h 817200"/>
              <a:gd name="connsiteX6" fmla="*/ 2175412 w 2916238"/>
              <a:gd name="connsiteY6" fmla="*/ 817200 h 817200"/>
              <a:gd name="connsiteX7" fmla="*/ 752 w 2916238"/>
              <a:gd name="connsiteY7" fmla="*/ 817200 h 817200"/>
              <a:gd name="connsiteX8" fmla="*/ 0 w 2916238"/>
              <a:gd name="connsiteY8" fmla="*/ 8172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6238" h="817200">
                <a:moveTo>
                  <a:pt x="0" y="0"/>
                </a:moveTo>
                <a:lnTo>
                  <a:pt x="752" y="0"/>
                </a:lnTo>
                <a:lnTo>
                  <a:pt x="2175412" y="0"/>
                </a:lnTo>
                <a:lnTo>
                  <a:pt x="2785012" y="0"/>
                </a:lnTo>
                <a:lnTo>
                  <a:pt x="2916238" y="408600"/>
                </a:lnTo>
                <a:lnTo>
                  <a:pt x="2785012" y="817200"/>
                </a:lnTo>
                <a:lnTo>
                  <a:pt x="2175412" y="817200"/>
                </a:lnTo>
                <a:lnTo>
                  <a:pt x="752" y="817200"/>
                </a:lnTo>
                <a:lnTo>
                  <a:pt x="0" y="8172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10B4C999-11DB-49A6-8AB3-B2F9DC1BC1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61437" y="2559050"/>
            <a:ext cx="2772653" cy="2876550"/>
          </a:xfrm>
          <a:noFill/>
          <a:ln>
            <a:solidFill>
              <a:schemeClr val="tx2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B7D4CF97-9894-4D12-B5CD-6E7A0BEFEB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438" y="1741713"/>
            <a:ext cx="2901237" cy="817200"/>
          </a:xfrm>
          <a:custGeom>
            <a:avLst/>
            <a:gdLst>
              <a:gd name="connsiteX0" fmla="*/ 0 w 2901237"/>
              <a:gd name="connsiteY0" fmla="*/ 0 h 817200"/>
              <a:gd name="connsiteX1" fmla="*/ 601120 w 2901237"/>
              <a:gd name="connsiteY1" fmla="*/ 0 h 817200"/>
              <a:gd name="connsiteX2" fmla="*/ 2780970 w 2901237"/>
              <a:gd name="connsiteY2" fmla="*/ 0 h 817200"/>
              <a:gd name="connsiteX3" fmla="*/ 2780971 w 2901237"/>
              <a:gd name="connsiteY3" fmla="*/ 0 h 817200"/>
              <a:gd name="connsiteX4" fmla="*/ 2901237 w 2901237"/>
              <a:gd name="connsiteY4" fmla="*/ 408600 h 817200"/>
              <a:gd name="connsiteX5" fmla="*/ 2780970 w 2901237"/>
              <a:gd name="connsiteY5" fmla="*/ 817200 h 817200"/>
              <a:gd name="connsiteX6" fmla="*/ 601120 w 2901237"/>
              <a:gd name="connsiteY6" fmla="*/ 817200 h 817200"/>
              <a:gd name="connsiteX7" fmla="*/ 0 w 2901237"/>
              <a:gd name="connsiteY7" fmla="*/ 817200 h 817200"/>
              <a:gd name="connsiteX8" fmla="*/ 120267 w 2901237"/>
              <a:gd name="connsiteY8" fmla="*/ 4086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01237" h="817200">
                <a:moveTo>
                  <a:pt x="0" y="0"/>
                </a:moveTo>
                <a:lnTo>
                  <a:pt x="601120" y="0"/>
                </a:lnTo>
                <a:lnTo>
                  <a:pt x="2780970" y="0"/>
                </a:lnTo>
                <a:lnTo>
                  <a:pt x="2780971" y="0"/>
                </a:lnTo>
                <a:lnTo>
                  <a:pt x="2901237" y="408600"/>
                </a:lnTo>
                <a:lnTo>
                  <a:pt x="2780970" y="817200"/>
                </a:lnTo>
                <a:lnTo>
                  <a:pt x="601120" y="817200"/>
                </a:lnTo>
                <a:lnTo>
                  <a:pt x="0" y="817200"/>
                </a:lnTo>
                <a:lnTo>
                  <a:pt x="120267" y="408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8A0AAAB-DFCF-4F8D-90DA-DBD0201339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0044" y="2559050"/>
            <a:ext cx="2772656" cy="2876550"/>
          </a:xfrm>
          <a:noFill/>
          <a:ln>
            <a:solidFill>
              <a:schemeClr val="accent6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07483DBB-6AB3-44E8-B476-D691A6DD77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98653" y="2559050"/>
            <a:ext cx="2785359" cy="2876550"/>
          </a:xfrm>
          <a:noFill/>
          <a:ln>
            <a:solidFill>
              <a:schemeClr val="accent5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3200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693F23D-9700-4C2B-8C74-EC7DABC03D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0045" y="1741713"/>
            <a:ext cx="2899654" cy="817200"/>
          </a:xfrm>
          <a:custGeom>
            <a:avLst/>
            <a:gdLst>
              <a:gd name="connsiteX0" fmla="*/ 0 w 2899654"/>
              <a:gd name="connsiteY0" fmla="*/ 0 h 817200"/>
              <a:gd name="connsiteX1" fmla="*/ 599537 w 2899654"/>
              <a:gd name="connsiteY1" fmla="*/ 0 h 817200"/>
              <a:gd name="connsiteX2" fmla="*/ 2779387 w 2899654"/>
              <a:gd name="connsiteY2" fmla="*/ 0 h 817200"/>
              <a:gd name="connsiteX3" fmla="*/ 2779388 w 2899654"/>
              <a:gd name="connsiteY3" fmla="*/ 0 h 817200"/>
              <a:gd name="connsiteX4" fmla="*/ 2899654 w 2899654"/>
              <a:gd name="connsiteY4" fmla="*/ 408600 h 817200"/>
              <a:gd name="connsiteX5" fmla="*/ 2779387 w 2899654"/>
              <a:gd name="connsiteY5" fmla="*/ 817200 h 817200"/>
              <a:gd name="connsiteX6" fmla="*/ 599537 w 2899654"/>
              <a:gd name="connsiteY6" fmla="*/ 817200 h 817200"/>
              <a:gd name="connsiteX7" fmla="*/ 0 w 2899654"/>
              <a:gd name="connsiteY7" fmla="*/ 817200 h 817200"/>
              <a:gd name="connsiteX8" fmla="*/ 120267 w 2899654"/>
              <a:gd name="connsiteY8" fmla="*/ 4086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99654" h="817200">
                <a:moveTo>
                  <a:pt x="0" y="0"/>
                </a:moveTo>
                <a:lnTo>
                  <a:pt x="599537" y="0"/>
                </a:lnTo>
                <a:lnTo>
                  <a:pt x="2779387" y="0"/>
                </a:lnTo>
                <a:lnTo>
                  <a:pt x="2779388" y="0"/>
                </a:lnTo>
                <a:lnTo>
                  <a:pt x="2899654" y="408600"/>
                </a:lnTo>
                <a:lnTo>
                  <a:pt x="2779387" y="817200"/>
                </a:lnTo>
                <a:lnTo>
                  <a:pt x="599537" y="817200"/>
                </a:lnTo>
                <a:lnTo>
                  <a:pt x="0" y="817200"/>
                </a:lnTo>
                <a:lnTo>
                  <a:pt x="120267" y="408600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FA2D96A-3279-4543-B199-078C69DB5E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8653" y="1741713"/>
            <a:ext cx="2785358" cy="817200"/>
          </a:xfrm>
          <a:custGeom>
            <a:avLst/>
            <a:gdLst>
              <a:gd name="connsiteX0" fmla="*/ 0 w 2785358"/>
              <a:gd name="connsiteY0" fmla="*/ 0 h 817200"/>
              <a:gd name="connsiteX1" fmla="*/ 75364 w 2785358"/>
              <a:gd name="connsiteY1" fmla="*/ 0 h 817200"/>
              <a:gd name="connsiteX2" fmla="*/ 450010 w 2785358"/>
              <a:gd name="connsiteY2" fmla="*/ 0 h 817200"/>
              <a:gd name="connsiteX3" fmla="*/ 485241 w 2785358"/>
              <a:gd name="connsiteY3" fmla="*/ 0 h 817200"/>
              <a:gd name="connsiteX4" fmla="*/ 2665092 w 2785358"/>
              <a:gd name="connsiteY4" fmla="*/ 0 h 817200"/>
              <a:gd name="connsiteX5" fmla="*/ 2785358 w 2785358"/>
              <a:gd name="connsiteY5" fmla="*/ 0 h 817200"/>
              <a:gd name="connsiteX6" fmla="*/ 2785358 w 2785358"/>
              <a:gd name="connsiteY6" fmla="*/ 408600 h 817200"/>
              <a:gd name="connsiteX7" fmla="*/ 2785358 w 2785358"/>
              <a:gd name="connsiteY7" fmla="*/ 817200 h 817200"/>
              <a:gd name="connsiteX8" fmla="*/ 2665091 w 2785358"/>
              <a:gd name="connsiteY8" fmla="*/ 817200 h 817200"/>
              <a:gd name="connsiteX9" fmla="*/ 485241 w 2785358"/>
              <a:gd name="connsiteY9" fmla="*/ 817200 h 817200"/>
              <a:gd name="connsiteX10" fmla="*/ 42544 w 2785358"/>
              <a:gd name="connsiteY10" fmla="*/ 817200 h 817200"/>
              <a:gd name="connsiteX11" fmla="*/ 42544 w 2785358"/>
              <a:gd name="connsiteY11" fmla="*/ 817199 h 817200"/>
              <a:gd name="connsiteX12" fmla="*/ 75363 w 2785358"/>
              <a:gd name="connsiteY12" fmla="*/ 817199 h 817200"/>
              <a:gd name="connsiteX13" fmla="*/ 75363 w 2785358"/>
              <a:gd name="connsiteY13" fmla="*/ 817198 h 817200"/>
              <a:gd name="connsiteX14" fmla="*/ 0 w 2785358"/>
              <a:gd name="connsiteY14" fmla="*/ 817198 h 817200"/>
              <a:gd name="connsiteX15" fmla="*/ 135060 w 2785358"/>
              <a:gd name="connsiteY15" fmla="*/ 408599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5358" h="817200">
                <a:moveTo>
                  <a:pt x="0" y="0"/>
                </a:moveTo>
                <a:lnTo>
                  <a:pt x="75364" y="0"/>
                </a:lnTo>
                <a:lnTo>
                  <a:pt x="450010" y="0"/>
                </a:lnTo>
                <a:lnTo>
                  <a:pt x="485241" y="0"/>
                </a:lnTo>
                <a:lnTo>
                  <a:pt x="2665092" y="0"/>
                </a:lnTo>
                <a:lnTo>
                  <a:pt x="2785358" y="0"/>
                </a:lnTo>
                <a:lnTo>
                  <a:pt x="2785358" y="408600"/>
                </a:lnTo>
                <a:lnTo>
                  <a:pt x="2785358" y="817200"/>
                </a:lnTo>
                <a:lnTo>
                  <a:pt x="2665091" y="817200"/>
                </a:lnTo>
                <a:lnTo>
                  <a:pt x="485241" y="817200"/>
                </a:lnTo>
                <a:lnTo>
                  <a:pt x="42544" y="817200"/>
                </a:lnTo>
                <a:lnTo>
                  <a:pt x="42544" y="817199"/>
                </a:lnTo>
                <a:lnTo>
                  <a:pt x="75363" y="817199"/>
                </a:lnTo>
                <a:lnTo>
                  <a:pt x="75363" y="817198"/>
                </a:lnTo>
                <a:lnTo>
                  <a:pt x="0" y="817198"/>
                </a:lnTo>
                <a:lnTo>
                  <a:pt x="135060" y="408599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40D9C6-5E51-43F8-A4B9-99298611C67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7799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B1D31A-1072-4488-8176-064D101F5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2559050"/>
            <a:ext cx="2179040" cy="2876550"/>
          </a:xfrm>
          <a:noFill/>
          <a:ln>
            <a:solidFill>
              <a:schemeClr val="accent1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49400-E757-4904-B6B0-89D775990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nter title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D3461D-2D14-40AF-A11E-E32A29AD5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2FB9-7D18-4174-9B0A-336A77C9A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D6CB9D3-FFF8-41F8-AB84-829079938E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739" y="1741713"/>
            <a:ext cx="2305886" cy="817200"/>
          </a:xfrm>
          <a:custGeom>
            <a:avLst/>
            <a:gdLst>
              <a:gd name="connsiteX0" fmla="*/ 0 w 2305886"/>
              <a:gd name="connsiteY0" fmla="*/ 0 h 817200"/>
              <a:gd name="connsiteX1" fmla="*/ 2174660 w 2305886"/>
              <a:gd name="connsiteY1" fmla="*/ 0 h 817200"/>
              <a:gd name="connsiteX2" fmla="*/ 2305886 w 2305886"/>
              <a:gd name="connsiteY2" fmla="*/ 408600 h 817200"/>
              <a:gd name="connsiteX3" fmla="*/ 2174660 w 2305886"/>
              <a:gd name="connsiteY3" fmla="*/ 817200 h 817200"/>
              <a:gd name="connsiteX4" fmla="*/ 0 w 2305886"/>
              <a:gd name="connsiteY4" fmla="*/ 8172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5886" h="817200">
                <a:moveTo>
                  <a:pt x="0" y="0"/>
                </a:moveTo>
                <a:lnTo>
                  <a:pt x="2174660" y="0"/>
                </a:lnTo>
                <a:lnTo>
                  <a:pt x="2305886" y="408600"/>
                </a:lnTo>
                <a:lnTo>
                  <a:pt x="2174660" y="817200"/>
                </a:lnTo>
                <a:lnTo>
                  <a:pt x="0" y="8172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10B4C999-11DB-49A6-8AB3-B2F9DC1BC1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5101" y="2559050"/>
            <a:ext cx="2179040" cy="2876550"/>
          </a:xfrm>
          <a:noFill/>
          <a:ln>
            <a:solidFill>
              <a:schemeClr val="tx2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66C0C20F-32BB-4C0E-AAF8-A6A7691478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06859" y="1741713"/>
            <a:ext cx="2300117" cy="817200"/>
          </a:xfrm>
          <a:custGeom>
            <a:avLst/>
            <a:gdLst>
              <a:gd name="connsiteX0" fmla="*/ 0 w 2300117"/>
              <a:gd name="connsiteY0" fmla="*/ 0 h 817200"/>
              <a:gd name="connsiteX1" fmla="*/ 2179851 w 2300117"/>
              <a:gd name="connsiteY1" fmla="*/ 0 h 817200"/>
              <a:gd name="connsiteX2" fmla="*/ 2300117 w 2300117"/>
              <a:gd name="connsiteY2" fmla="*/ 408600 h 817200"/>
              <a:gd name="connsiteX3" fmla="*/ 2179850 w 2300117"/>
              <a:gd name="connsiteY3" fmla="*/ 817200 h 817200"/>
              <a:gd name="connsiteX4" fmla="*/ 0 w 2300117"/>
              <a:gd name="connsiteY4" fmla="*/ 817200 h 817200"/>
              <a:gd name="connsiteX5" fmla="*/ 120267 w 2300117"/>
              <a:gd name="connsiteY5" fmla="*/ 4086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0117" h="817200">
                <a:moveTo>
                  <a:pt x="0" y="0"/>
                </a:moveTo>
                <a:lnTo>
                  <a:pt x="2179851" y="0"/>
                </a:lnTo>
                <a:lnTo>
                  <a:pt x="2300117" y="408600"/>
                </a:lnTo>
                <a:lnTo>
                  <a:pt x="2179850" y="817200"/>
                </a:lnTo>
                <a:lnTo>
                  <a:pt x="0" y="817200"/>
                </a:lnTo>
                <a:lnTo>
                  <a:pt x="120267" y="408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8A0AAAB-DFCF-4F8D-90DA-DBD0201339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2214" y="2559050"/>
            <a:ext cx="2177451" cy="2876550"/>
          </a:xfrm>
          <a:noFill/>
          <a:ln>
            <a:solidFill>
              <a:schemeClr val="accent6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07483DBB-6AB3-44E8-B476-D691A6DD77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7738" y="2559050"/>
            <a:ext cx="2185225" cy="2876550"/>
          </a:xfrm>
          <a:noFill/>
          <a:ln>
            <a:solidFill>
              <a:schemeClr val="accent5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3200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E232F59-5ADC-46E3-9697-CA7EA3C216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02383" y="1741713"/>
            <a:ext cx="2300117" cy="817200"/>
          </a:xfrm>
          <a:custGeom>
            <a:avLst/>
            <a:gdLst>
              <a:gd name="connsiteX0" fmla="*/ 0 w 2300117"/>
              <a:gd name="connsiteY0" fmla="*/ 0 h 817200"/>
              <a:gd name="connsiteX1" fmla="*/ 2179851 w 2300117"/>
              <a:gd name="connsiteY1" fmla="*/ 0 h 817200"/>
              <a:gd name="connsiteX2" fmla="*/ 2300117 w 2300117"/>
              <a:gd name="connsiteY2" fmla="*/ 408600 h 817200"/>
              <a:gd name="connsiteX3" fmla="*/ 2179850 w 2300117"/>
              <a:gd name="connsiteY3" fmla="*/ 817200 h 817200"/>
              <a:gd name="connsiteX4" fmla="*/ 0 w 2300117"/>
              <a:gd name="connsiteY4" fmla="*/ 817200 h 817200"/>
              <a:gd name="connsiteX5" fmla="*/ 120267 w 2300117"/>
              <a:gd name="connsiteY5" fmla="*/ 4086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0117" h="817200">
                <a:moveTo>
                  <a:pt x="0" y="0"/>
                </a:moveTo>
                <a:lnTo>
                  <a:pt x="2179851" y="0"/>
                </a:lnTo>
                <a:lnTo>
                  <a:pt x="2300117" y="408600"/>
                </a:lnTo>
                <a:lnTo>
                  <a:pt x="2179850" y="817200"/>
                </a:lnTo>
                <a:lnTo>
                  <a:pt x="0" y="817200"/>
                </a:lnTo>
                <a:lnTo>
                  <a:pt x="120267" y="408600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B2F6D8DE-FDAF-4886-9A00-5D9F036F05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04258" y="1741713"/>
            <a:ext cx="2300117" cy="817200"/>
          </a:xfrm>
          <a:custGeom>
            <a:avLst/>
            <a:gdLst>
              <a:gd name="connsiteX0" fmla="*/ 0 w 2300117"/>
              <a:gd name="connsiteY0" fmla="*/ 0 h 817200"/>
              <a:gd name="connsiteX1" fmla="*/ 2179851 w 2300117"/>
              <a:gd name="connsiteY1" fmla="*/ 0 h 817200"/>
              <a:gd name="connsiteX2" fmla="*/ 2300117 w 2300117"/>
              <a:gd name="connsiteY2" fmla="*/ 408600 h 817200"/>
              <a:gd name="connsiteX3" fmla="*/ 2179850 w 2300117"/>
              <a:gd name="connsiteY3" fmla="*/ 817200 h 817200"/>
              <a:gd name="connsiteX4" fmla="*/ 0 w 2300117"/>
              <a:gd name="connsiteY4" fmla="*/ 817200 h 817200"/>
              <a:gd name="connsiteX5" fmla="*/ 120267 w 2300117"/>
              <a:gd name="connsiteY5" fmla="*/ 408600 h 81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0117" h="817200">
                <a:moveTo>
                  <a:pt x="0" y="0"/>
                </a:moveTo>
                <a:lnTo>
                  <a:pt x="2179851" y="0"/>
                </a:lnTo>
                <a:lnTo>
                  <a:pt x="2300117" y="408600"/>
                </a:lnTo>
                <a:lnTo>
                  <a:pt x="2179850" y="817200"/>
                </a:lnTo>
                <a:lnTo>
                  <a:pt x="0" y="817200"/>
                </a:lnTo>
                <a:lnTo>
                  <a:pt x="120267" y="40860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84ACBA5-0874-4C39-B8D4-EE3612F7CE7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03470" y="1741712"/>
            <a:ext cx="2180543" cy="817201"/>
          </a:xfrm>
          <a:custGeom>
            <a:avLst/>
            <a:gdLst>
              <a:gd name="connsiteX0" fmla="*/ 0 w 2180543"/>
              <a:gd name="connsiteY0" fmla="*/ 0 h 817201"/>
              <a:gd name="connsiteX1" fmla="*/ 49503 w 2180543"/>
              <a:gd name="connsiteY1" fmla="*/ 0 h 817201"/>
              <a:gd name="connsiteX2" fmla="*/ 344110 w 2180543"/>
              <a:gd name="connsiteY2" fmla="*/ 0 h 817201"/>
              <a:gd name="connsiteX3" fmla="*/ 2180543 w 2180543"/>
              <a:gd name="connsiteY3" fmla="*/ 0 h 817201"/>
              <a:gd name="connsiteX4" fmla="*/ 2180543 w 2180543"/>
              <a:gd name="connsiteY4" fmla="*/ 408601 h 817201"/>
              <a:gd name="connsiteX5" fmla="*/ 2180543 w 2180543"/>
              <a:gd name="connsiteY5" fmla="*/ 817201 h 817201"/>
              <a:gd name="connsiteX6" fmla="*/ 2079387 w 2180543"/>
              <a:gd name="connsiteY6" fmla="*/ 817201 h 817201"/>
              <a:gd name="connsiteX7" fmla="*/ 245924 w 2180543"/>
              <a:gd name="connsiteY7" fmla="*/ 817201 h 817201"/>
              <a:gd name="connsiteX8" fmla="*/ 23694 w 2180543"/>
              <a:gd name="connsiteY8" fmla="*/ 817201 h 817201"/>
              <a:gd name="connsiteX9" fmla="*/ 23694 w 2180543"/>
              <a:gd name="connsiteY9" fmla="*/ 817200 h 817201"/>
              <a:gd name="connsiteX10" fmla="*/ 49502 w 2180543"/>
              <a:gd name="connsiteY10" fmla="*/ 817200 h 817201"/>
              <a:gd name="connsiteX11" fmla="*/ 49502 w 2180543"/>
              <a:gd name="connsiteY11" fmla="*/ 817199 h 817201"/>
              <a:gd name="connsiteX12" fmla="*/ 0 w 2180543"/>
              <a:gd name="connsiteY12" fmla="*/ 817199 h 817201"/>
              <a:gd name="connsiteX13" fmla="*/ 135079 w 2180543"/>
              <a:gd name="connsiteY13" fmla="*/ 408600 h 81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80543" h="817201">
                <a:moveTo>
                  <a:pt x="0" y="0"/>
                </a:moveTo>
                <a:lnTo>
                  <a:pt x="49503" y="0"/>
                </a:lnTo>
                <a:lnTo>
                  <a:pt x="344110" y="0"/>
                </a:lnTo>
                <a:lnTo>
                  <a:pt x="2180543" y="0"/>
                </a:lnTo>
                <a:lnTo>
                  <a:pt x="2180543" y="408601"/>
                </a:lnTo>
                <a:lnTo>
                  <a:pt x="2180543" y="817201"/>
                </a:lnTo>
                <a:lnTo>
                  <a:pt x="2079387" y="817201"/>
                </a:lnTo>
                <a:lnTo>
                  <a:pt x="245924" y="817201"/>
                </a:lnTo>
                <a:lnTo>
                  <a:pt x="23694" y="817201"/>
                </a:lnTo>
                <a:lnTo>
                  <a:pt x="23694" y="817200"/>
                </a:lnTo>
                <a:lnTo>
                  <a:pt x="49502" y="817200"/>
                </a:lnTo>
                <a:lnTo>
                  <a:pt x="49502" y="817199"/>
                </a:lnTo>
                <a:lnTo>
                  <a:pt x="0" y="817199"/>
                </a:lnTo>
                <a:lnTo>
                  <a:pt x="135079" y="40860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 lIns="180000" rIns="180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5D5D2A3B-816B-4063-BC86-43FC874466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3470" y="2559050"/>
            <a:ext cx="2185225" cy="2876550"/>
          </a:xfrm>
          <a:noFill/>
          <a:ln>
            <a:solidFill>
              <a:schemeClr val="accent3"/>
            </a:solidFill>
          </a:ln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71E0E8-6530-4550-8FE3-E3CEA7DB57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899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ep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667B56B-73D6-4A19-882D-95753699D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360000" rIns="0" bIns="360000" rtlCol="0" anchor="ctr" anchorCtr="0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enter title he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AEA7459-78C6-469B-A437-C1B22EA0A9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70300" y="1071349"/>
            <a:ext cx="2646391" cy="5129420"/>
          </a:xfrm>
          <a:custGeom>
            <a:avLst/>
            <a:gdLst>
              <a:gd name="connsiteX0" fmla="*/ 0 w 1575047"/>
              <a:gd name="connsiteY0" fmla="*/ 0 h 5129420"/>
              <a:gd name="connsiteX1" fmla="*/ 1412990 w 1575047"/>
              <a:gd name="connsiteY1" fmla="*/ 0 h 5129420"/>
              <a:gd name="connsiteX2" fmla="*/ 1575047 w 1575047"/>
              <a:gd name="connsiteY2" fmla="*/ 2564710 h 5129420"/>
              <a:gd name="connsiteX3" fmla="*/ 1412990 w 1575047"/>
              <a:gd name="connsiteY3" fmla="*/ 5129420 h 5129420"/>
              <a:gd name="connsiteX4" fmla="*/ 0 w 1575047"/>
              <a:gd name="connsiteY4" fmla="*/ 512942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5047" h="5129420">
                <a:moveTo>
                  <a:pt x="0" y="0"/>
                </a:moveTo>
                <a:lnTo>
                  <a:pt x="1412990" y="0"/>
                </a:lnTo>
                <a:lnTo>
                  <a:pt x="1575047" y="2564710"/>
                </a:lnTo>
                <a:lnTo>
                  <a:pt x="1412990" y="5129420"/>
                </a:lnTo>
                <a:lnTo>
                  <a:pt x="0" y="512942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wrap="square" lIns="108000" tIns="72000" rIns="72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accent1"/>
                </a:solidFill>
              </a:defRPr>
            </a:lvl2pPr>
            <a:lvl3pPr>
              <a:defRPr sz="2000" b="1">
                <a:solidFill>
                  <a:schemeClr val="accent1"/>
                </a:solidFill>
              </a:defRPr>
            </a:lvl3pPr>
            <a:lvl4pPr>
              <a:defRPr sz="2000" b="1">
                <a:solidFill>
                  <a:schemeClr val="accent1"/>
                </a:solidFill>
              </a:defRPr>
            </a:lvl4pPr>
            <a:lvl5pPr>
              <a:defRPr sz="1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50D33B4-5BA5-4F77-BDD2-E8ADA00C50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98" y="1071349"/>
            <a:ext cx="2824520" cy="5129420"/>
          </a:xfrm>
          <a:custGeom>
            <a:avLst/>
            <a:gdLst>
              <a:gd name="connsiteX0" fmla="*/ 0 w 1681059"/>
              <a:gd name="connsiteY0" fmla="*/ 0 h 5129420"/>
              <a:gd name="connsiteX1" fmla="*/ 1531008 w 1681059"/>
              <a:gd name="connsiteY1" fmla="*/ 0 h 5129420"/>
              <a:gd name="connsiteX2" fmla="*/ 1681059 w 1681059"/>
              <a:gd name="connsiteY2" fmla="*/ 2564710 h 5129420"/>
              <a:gd name="connsiteX3" fmla="*/ 1531008 w 1681059"/>
              <a:gd name="connsiteY3" fmla="*/ 5129420 h 5129420"/>
              <a:gd name="connsiteX4" fmla="*/ 0 w 1681059"/>
              <a:gd name="connsiteY4" fmla="*/ 5129420 h 5129420"/>
              <a:gd name="connsiteX5" fmla="*/ 150051 w 1681059"/>
              <a:gd name="connsiteY5" fmla="*/ 256471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1059" h="5129420">
                <a:moveTo>
                  <a:pt x="0" y="0"/>
                </a:moveTo>
                <a:lnTo>
                  <a:pt x="1531008" y="0"/>
                </a:lnTo>
                <a:lnTo>
                  <a:pt x="1681059" y="2564710"/>
                </a:lnTo>
                <a:lnTo>
                  <a:pt x="1531008" y="5129420"/>
                </a:lnTo>
                <a:lnTo>
                  <a:pt x="0" y="5129420"/>
                </a:lnTo>
                <a:lnTo>
                  <a:pt x="150051" y="256471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396000" tIns="72000" rIns="72000" bIns="45720" rtlCol="0" anchor="ctr" anchorCtr="0">
            <a:noAutofit/>
          </a:bodyPr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2000" b="1" dirty="0" smtClean="0">
                <a:solidFill>
                  <a:schemeClr val="accent1"/>
                </a:solidFill>
              </a:defRPr>
            </a:lvl2pPr>
            <a:lvl3pPr>
              <a:defRPr lang="en-US" sz="2000" b="1" dirty="0" smtClean="0">
                <a:solidFill>
                  <a:schemeClr val="accent1"/>
                </a:solidFill>
              </a:defRPr>
            </a:lvl3pPr>
            <a:lvl4pPr>
              <a:defRPr lang="en-US" sz="2000" b="1" dirty="0" smtClean="0">
                <a:solidFill>
                  <a:schemeClr val="accent1"/>
                </a:solidFill>
              </a:defRPr>
            </a:lvl4pPr>
            <a:lvl5pPr>
              <a:defRPr lang="en-US" sz="1800" b="1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E3127B0-7884-40E5-9D04-0F2C52D4D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59494" y="1071355"/>
            <a:ext cx="2824520" cy="5129420"/>
          </a:xfrm>
          <a:custGeom>
            <a:avLst/>
            <a:gdLst>
              <a:gd name="connsiteX0" fmla="*/ 1 w 1673985"/>
              <a:gd name="connsiteY0" fmla="*/ 0 h 5129420"/>
              <a:gd name="connsiteX1" fmla="*/ 118006 w 1673985"/>
              <a:gd name="connsiteY1" fmla="*/ 0 h 5129420"/>
              <a:gd name="connsiteX2" fmla="*/ 1673985 w 1673985"/>
              <a:gd name="connsiteY2" fmla="*/ 0 h 5129420"/>
              <a:gd name="connsiteX3" fmla="*/ 1673985 w 1673985"/>
              <a:gd name="connsiteY3" fmla="*/ 5129420 h 5129420"/>
              <a:gd name="connsiteX4" fmla="*/ 0 w 1673985"/>
              <a:gd name="connsiteY4" fmla="*/ 5129414 h 5129420"/>
              <a:gd name="connsiteX5" fmla="*/ 150052 w 1673985"/>
              <a:gd name="connsiteY5" fmla="*/ 2564704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3985" h="5129420">
                <a:moveTo>
                  <a:pt x="1" y="0"/>
                </a:moveTo>
                <a:lnTo>
                  <a:pt x="118006" y="0"/>
                </a:lnTo>
                <a:lnTo>
                  <a:pt x="1673985" y="0"/>
                </a:lnTo>
                <a:lnTo>
                  <a:pt x="1673985" y="5129420"/>
                </a:lnTo>
                <a:lnTo>
                  <a:pt x="0" y="5129414"/>
                </a:lnTo>
                <a:lnTo>
                  <a:pt x="150052" y="2564704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396000" tIns="72000" rIns="72000" bIns="45720" rtlCol="0" anchor="ctr" anchorCtr="0">
            <a:noAutofit/>
          </a:bodyPr>
          <a:lstStyle>
            <a:lvl1pPr marL="0" indent="0">
              <a:buNone/>
              <a:defRPr lang="en-US" sz="2000" b="1" smtClean="0">
                <a:solidFill>
                  <a:schemeClr val="accent1"/>
                </a:solidFill>
              </a:defRPr>
            </a:lvl1pPr>
            <a:lvl2pPr>
              <a:defRPr lang="en-US" sz="2000" b="1" smtClean="0">
                <a:solidFill>
                  <a:schemeClr val="accent1"/>
                </a:solidFill>
              </a:defRPr>
            </a:lvl2pPr>
            <a:lvl3pPr>
              <a:defRPr lang="en-US" sz="2000" b="1" smtClean="0">
                <a:solidFill>
                  <a:schemeClr val="accent1"/>
                </a:solidFill>
              </a:defRPr>
            </a:lvl3pPr>
            <a:lvl4pPr>
              <a:defRPr lang="en-US" sz="2000" b="1" smtClean="0">
                <a:solidFill>
                  <a:schemeClr val="accent1"/>
                </a:solidFill>
              </a:defRPr>
            </a:lvl4pPr>
            <a:lvl5pPr>
              <a:defRPr lang="en-US" sz="1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9BB458-51EE-49FC-8EF4-7EC8C714655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0208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06787C2F-ABF6-4580-A286-19F5002B6A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360000" rIns="0" bIns="360000" rtlCol="0" anchor="ctr" anchorCtr="0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enter title he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AEA7459-78C6-469B-A437-C1B22EA0A9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70300" y="1071349"/>
            <a:ext cx="1969131" cy="5129420"/>
          </a:xfrm>
          <a:custGeom>
            <a:avLst/>
            <a:gdLst>
              <a:gd name="connsiteX0" fmla="*/ 0 w 1575047"/>
              <a:gd name="connsiteY0" fmla="*/ 0 h 5129420"/>
              <a:gd name="connsiteX1" fmla="*/ 1412990 w 1575047"/>
              <a:gd name="connsiteY1" fmla="*/ 0 h 5129420"/>
              <a:gd name="connsiteX2" fmla="*/ 1575047 w 1575047"/>
              <a:gd name="connsiteY2" fmla="*/ 2564710 h 5129420"/>
              <a:gd name="connsiteX3" fmla="*/ 1412990 w 1575047"/>
              <a:gd name="connsiteY3" fmla="*/ 5129420 h 5129420"/>
              <a:gd name="connsiteX4" fmla="*/ 0 w 1575047"/>
              <a:gd name="connsiteY4" fmla="*/ 512942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5047" h="5129420">
                <a:moveTo>
                  <a:pt x="0" y="0"/>
                </a:moveTo>
                <a:lnTo>
                  <a:pt x="1412990" y="0"/>
                </a:lnTo>
                <a:lnTo>
                  <a:pt x="1575047" y="2564710"/>
                </a:lnTo>
                <a:lnTo>
                  <a:pt x="1412990" y="5129420"/>
                </a:lnTo>
                <a:lnTo>
                  <a:pt x="0" y="512942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wrap="square" lIns="108000" tIns="72000" rIns="72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accent1"/>
                </a:solidFill>
              </a:defRPr>
            </a:lvl2pPr>
            <a:lvl3pPr>
              <a:defRPr sz="2000" b="1">
                <a:solidFill>
                  <a:schemeClr val="accent1"/>
                </a:solidFill>
              </a:defRPr>
            </a:lvl3pPr>
            <a:lvl4pPr>
              <a:defRPr sz="2000" b="1">
                <a:solidFill>
                  <a:schemeClr val="accent1"/>
                </a:solidFill>
              </a:defRPr>
            </a:lvl4pPr>
            <a:lvl5pPr>
              <a:defRPr sz="1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50D33B4-5BA5-4F77-BDD2-E8ADA00C50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7899" y="1071349"/>
            <a:ext cx="2101673" cy="5129420"/>
          </a:xfrm>
          <a:custGeom>
            <a:avLst/>
            <a:gdLst>
              <a:gd name="connsiteX0" fmla="*/ 0 w 1681059"/>
              <a:gd name="connsiteY0" fmla="*/ 0 h 5129420"/>
              <a:gd name="connsiteX1" fmla="*/ 1531008 w 1681059"/>
              <a:gd name="connsiteY1" fmla="*/ 0 h 5129420"/>
              <a:gd name="connsiteX2" fmla="*/ 1681059 w 1681059"/>
              <a:gd name="connsiteY2" fmla="*/ 2564710 h 5129420"/>
              <a:gd name="connsiteX3" fmla="*/ 1531008 w 1681059"/>
              <a:gd name="connsiteY3" fmla="*/ 5129420 h 5129420"/>
              <a:gd name="connsiteX4" fmla="*/ 0 w 1681059"/>
              <a:gd name="connsiteY4" fmla="*/ 5129420 h 5129420"/>
              <a:gd name="connsiteX5" fmla="*/ 150051 w 1681059"/>
              <a:gd name="connsiteY5" fmla="*/ 256471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1059" h="5129420">
                <a:moveTo>
                  <a:pt x="0" y="0"/>
                </a:moveTo>
                <a:lnTo>
                  <a:pt x="1531008" y="0"/>
                </a:lnTo>
                <a:lnTo>
                  <a:pt x="1681059" y="2564710"/>
                </a:lnTo>
                <a:lnTo>
                  <a:pt x="1531008" y="5129420"/>
                </a:lnTo>
                <a:lnTo>
                  <a:pt x="0" y="5129420"/>
                </a:lnTo>
                <a:lnTo>
                  <a:pt x="150051" y="256471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2000" b="1" dirty="0" smtClean="0">
                <a:solidFill>
                  <a:schemeClr val="accent1"/>
                </a:solidFill>
              </a:defRPr>
            </a:lvl2pPr>
            <a:lvl3pPr>
              <a:defRPr lang="en-US" sz="2000" b="1" dirty="0" smtClean="0">
                <a:solidFill>
                  <a:schemeClr val="accent1"/>
                </a:solidFill>
              </a:defRPr>
            </a:lvl3pPr>
            <a:lvl4pPr>
              <a:defRPr lang="en-US" sz="2000" b="1" dirty="0" smtClean="0">
                <a:solidFill>
                  <a:schemeClr val="accent1"/>
                </a:solidFill>
              </a:defRPr>
            </a:lvl4pPr>
            <a:lvl5pPr>
              <a:defRPr lang="en-US" sz="1800" b="1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53D9384-AD84-40BB-8BF1-5FD39C560D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5698" y="1071349"/>
            <a:ext cx="2101673" cy="5129420"/>
          </a:xfrm>
          <a:custGeom>
            <a:avLst/>
            <a:gdLst>
              <a:gd name="connsiteX0" fmla="*/ 0 w 1681059"/>
              <a:gd name="connsiteY0" fmla="*/ 0 h 5129420"/>
              <a:gd name="connsiteX1" fmla="*/ 1531008 w 1681059"/>
              <a:gd name="connsiteY1" fmla="*/ 0 h 5129420"/>
              <a:gd name="connsiteX2" fmla="*/ 1681059 w 1681059"/>
              <a:gd name="connsiteY2" fmla="*/ 2564710 h 5129420"/>
              <a:gd name="connsiteX3" fmla="*/ 1531008 w 1681059"/>
              <a:gd name="connsiteY3" fmla="*/ 5129420 h 5129420"/>
              <a:gd name="connsiteX4" fmla="*/ 0 w 1681059"/>
              <a:gd name="connsiteY4" fmla="*/ 5129420 h 5129420"/>
              <a:gd name="connsiteX5" fmla="*/ 150051 w 1681059"/>
              <a:gd name="connsiteY5" fmla="*/ 256471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1059" h="5129420">
                <a:moveTo>
                  <a:pt x="0" y="0"/>
                </a:moveTo>
                <a:lnTo>
                  <a:pt x="1531008" y="0"/>
                </a:lnTo>
                <a:lnTo>
                  <a:pt x="1681059" y="2564710"/>
                </a:lnTo>
                <a:lnTo>
                  <a:pt x="1531008" y="5129420"/>
                </a:lnTo>
                <a:lnTo>
                  <a:pt x="0" y="5129420"/>
                </a:lnTo>
                <a:lnTo>
                  <a:pt x="150051" y="256471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2000" b="1" dirty="0" smtClean="0">
                <a:solidFill>
                  <a:schemeClr val="accent1"/>
                </a:solidFill>
              </a:defRPr>
            </a:lvl2pPr>
            <a:lvl3pPr>
              <a:defRPr lang="en-US" sz="2000" b="1" dirty="0" smtClean="0">
                <a:solidFill>
                  <a:schemeClr val="accent1"/>
                </a:solidFill>
              </a:defRPr>
            </a:lvl3pPr>
            <a:lvl4pPr>
              <a:defRPr lang="en-US" sz="2000" b="1" dirty="0" smtClean="0">
                <a:solidFill>
                  <a:schemeClr val="accent1"/>
                </a:solidFill>
              </a:defRPr>
            </a:lvl4pPr>
            <a:lvl5pPr>
              <a:defRPr lang="en-US" sz="1800" b="1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E3127B0-7884-40E5-9D04-0F2C52D4D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82340" y="1071355"/>
            <a:ext cx="2101673" cy="5129420"/>
          </a:xfrm>
          <a:custGeom>
            <a:avLst/>
            <a:gdLst>
              <a:gd name="connsiteX0" fmla="*/ 1 w 1673985"/>
              <a:gd name="connsiteY0" fmla="*/ 0 h 5129420"/>
              <a:gd name="connsiteX1" fmla="*/ 118006 w 1673985"/>
              <a:gd name="connsiteY1" fmla="*/ 0 h 5129420"/>
              <a:gd name="connsiteX2" fmla="*/ 1673985 w 1673985"/>
              <a:gd name="connsiteY2" fmla="*/ 0 h 5129420"/>
              <a:gd name="connsiteX3" fmla="*/ 1673985 w 1673985"/>
              <a:gd name="connsiteY3" fmla="*/ 5129420 h 5129420"/>
              <a:gd name="connsiteX4" fmla="*/ 0 w 1673985"/>
              <a:gd name="connsiteY4" fmla="*/ 5129414 h 5129420"/>
              <a:gd name="connsiteX5" fmla="*/ 150052 w 1673985"/>
              <a:gd name="connsiteY5" fmla="*/ 2564704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3985" h="5129420">
                <a:moveTo>
                  <a:pt x="1" y="0"/>
                </a:moveTo>
                <a:lnTo>
                  <a:pt x="118006" y="0"/>
                </a:lnTo>
                <a:lnTo>
                  <a:pt x="1673985" y="0"/>
                </a:lnTo>
                <a:lnTo>
                  <a:pt x="1673985" y="5129420"/>
                </a:lnTo>
                <a:lnTo>
                  <a:pt x="0" y="5129414"/>
                </a:lnTo>
                <a:lnTo>
                  <a:pt x="150052" y="2564704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smtClean="0">
                <a:solidFill>
                  <a:schemeClr val="accent1"/>
                </a:solidFill>
              </a:defRPr>
            </a:lvl1pPr>
            <a:lvl2pPr>
              <a:defRPr lang="en-US" sz="2000" b="1" smtClean="0">
                <a:solidFill>
                  <a:schemeClr val="accent1"/>
                </a:solidFill>
              </a:defRPr>
            </a:lvl2pPr>
            <a:lvl3pPr>
              <a:defRPr lang="en-US" sz="2000" b="1" smtClean="0">
                <a:solidFill>
                  <a:schemeClr val="accent1"/>
                </a:solidFill>
              </a:defRPr>
            </a:lvl3pPr>
            <a:lvl4pPr>
              <a:defRPr lang="en-US" sz="2000" b="1" smtClean="0">
                <a:solidFill>
                  <a:schemeClr val="accent1"/>
                </a:solidFill>
              </a:defRPr>
            </a:lvl4pPr>
            <a:lvl5pPr>
              <a:defRPr lang="en-US" sz="1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FDC2B6-3F8F-41ED-90FD-925B4D860D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7093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8846DE8-F473-4C78-BFFE-EC76CD666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299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ep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8340F0A6-2BF6-40C8-B334-1CA3D3443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360000" rIns="0" bIns="360000" rtlCol="0" anchor="ctr" anchorCtr="0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enter title he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AEA7459-78C6-469B-A437-C1B22EA0A9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70300" y="1071349"/>
            <a:ext cx="1575047" cy="5129420"/>
          </a:xfrm>
          <a:custGeom>
            <a:avLst/>
            <a:gdLst>
              <a:gd name="connsiteX0" fmla="*/ 0 w 1575047"/>
              <a:gd name="connsiteY0" fmla="*/ 0 h 5129420"/>
              <a:gd name="connsiteX1" fmla="*/ 1412990 w 1575047"/>
              <a:gd name="connsiteY1" fmla="*/ 0 h 5129420"/>
              <a:gd name="connsiteX2" fmla="*/ 1575047 w 1575047"/>
              <a:gd name="connsiteY2" fmla="*/ 2564710 h 5129420"/>
              <a:gd name="connsiteX3" fmla="*/ 1412990 w 1575047"/>
              <a:gd name="connsiteY3" fmla="*/ 5129420 h 5129420"/>
              <a:gd name="connsiteX4" fmla="*/ 0 w 1575047"/>
              <a:gd name="connsiteY4" fmla="*/ 512942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5047" h="5129420">
                <a:moveTo>
                  <a:pt x="0" y="0"/>
                </a:moveTo>
                <a:lnTo>
                  <a:pt x="1412990" y="0"/>
                </a:lnTo>
                <a:lnTo>
                  <a:pt x="1575047" y="2564710"/>
                </a:lnTo>
                <a:lnTo>
                  <a:pt x="1412990" y="5129420"/>
                </a:lnTo>
                <a:lnTo>
                  <a:pt x="0" y="512942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wrap="square" lIns="108000" tIns="72000" rIns="72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accent1"/>
                </a:solidFill>
              </a:defRPr>
            </a:lvl2pPr>
            <a:lvl3pPr>
              <a:defRPr sz="2000" b="1">
                <a:solidFill>
                  <a:schemeClr val="accent1"/>
                </a:solidFill>
              </a:defRPr>
            </a:lvl3pPr>
            <a:lvl4pPr>
              <a:defRPr sz="2000" b="1">
                <a:solidFill>
                  <a:schemeClr val="accent1"/>
                </a:solidFill>
              </a:defRPr>
            </a:lvl4pPr>
            <a:lvl5pPr>
              <a:defRPr sz="1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50D33B4-5BA5-4F77-BDD2-E8ADA00C50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96126" y="1071349"/>
            <a:ext cx="1681059" cy="5129420"/>
          </a:xfrm>
          <a:custGeom>
            <a:avLst/>
            <a:gdLst>
              <a:gd name="connsiteX0" fmla="*/ 0 w 1681059"/>
              <a:gd name="connsiteY0" fmla="*/ 0 h 5129420"/>
              <a:gd name="connsiteX1" fmla="*/ 1531008 w 1681059"/>
              <a:gd name="connsiteY1" fmla="*/ 0 h 5129420"/>
              <a:gd name="connsiteX2" fmla="*/ 1681059 w 1681059"/>
              <a:gd name="connsiteY2" fmla="*/ 2564710 h 5129420"/>
              <a:gd name="connsiteX3" fmla="*/ 1531008 w 1681059"/>
              <a:gd name="connsiteY3" fmla="*/ 5129420 h 5129420"/>
              <a:gd name="connsiteX4" fmla="*/ 0 w 1681059"/>
              <a:gd name="connsiteY4" fmla="*/ 5129420 h 5129420"/>
              <a:gd name="connsiteX5" fmla="*/ 150051 w 1681059"/>
              <a:gd name="connsiteY5" fmla="*/ 256471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1059" h="5129420">
                <a:moveTo>
                  <a:pt x="0" y="0"/>
                </a:moveTo>
                <a:lnTo>
                  <a:pt x="1531008" y="0"/>
                </a:lnTo>
                <a:lnTo>
                  <a:pt x="1681059" y="2564710"/>
                </a:lnTo>
                <a:lnTo>
                  <a:pt x="1531008" y="5129420"/>
                </a:lnTo>
                <a:lnTo>
                  <a:pt x="0" y="5129420"/>
                </a:lnTo>
                <a:lnTo>
                  <a:pt x="150051" y="256471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2000" b="1" dirty="0" smtClean="0">
                <a:solidFill>
                  <a:schemeClr val="accent1"/>
                </a:solidFill>
              </a:defRPr>
            </a:lvl2pPr>
            <a:lvl3pPr>
              <a:defRPr lang="en-US" sz="2000" b="1" dirty="0" smtClean="0">
                <a:solidFill>
                  <a:schemeClr val="accent1"/>
                </a:solidFill>
              </a:defRPr>
            </a:lvl3pPr>
            <a:lvl4pPr>
              <a:defRPr lang="en-US" sz="2000" b="1" dirty="0" smtClean="0">
                <a:solidFill>
                  <a:schemeClr val="accent1"/>
                </a:solidFill>
              </a:defRPr>
            </a:lvl4pPr>
            <a:lvl5pPr>
              <a:defRPr lang="en-US" sz="1800" b="1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53D9384-AD84-40BB-8BF1-5FD39C560D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34094" y="1071349"/>
            <a:ext cx="1681059" cy="5129420"/>
          </a:xfrm>
          <a:custGeom>
            <a:avLst/>
            <a:gdLst>
              <a:gd name="connsiteX0" fmla="*/ 0 w 1681059"/>
              <a:gd name="connsiteY0" fmla="*/ 0 h 5129420"/>
              <a:gd name="connsiteX1" fmla="*/ 1531008 w 1681059"/>
              <a:gd name="connsiteY1" fmla="*/ 0 h 5129420"/>
              <a:gd name="connsiteX2" fmla="*/ 1681059 w 1681059"/>
              <a:gd name="connsiteY2" fmla="*/ 2564710 h 5129420"/>
              <a:gd name="connsiteX3" fmla="*/ 1531008 w 1681059"/>
              <a:gd name="connsiteY3" fmla="*/ 5129420 h 5129420"/>
              <a:gd name="connsiteX4" fmla="*/ 0 w 1681059"/>
              <a:gd name="connsiteY4" fmla="*/ 5129420 h 5129420"/>
              <a:gd name="connsiteX5" fmla="*/ 150051 w 1681059"/>
              <a:gd name="connsiteY5" fmla="*/ 256471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1059" h="5129420">
                <a:moveTo>
                  <a:pt x="0" y="0"/>
                </a:moveTo>
                <a:lnTo>
                  <a:pt x="1531008" y="0"/>
                </a:lnTo>
                <a:lnTo>
                  <a:pt x="1681059" y="2564710"/>
                </a:lnTo>
                <a:lnTo>
                  <a:pt x="1531008" y="5129420"/>
                </a:lnTo>
                <a:lnTo>
                  <a:pt x="0" y="5129420"/>
                </a:lnTo>
                <a:lnTo>
                  <a:pt x="150051" y="256471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2000" b="1" dirty="0" smtClean="0">
                <a:solidFill>
                  <a:schemeClr val="accent1"/>
                </a:solidFill>
              </a:defRPr>
            </a:lvl2pPr>
            <a:lvl3pPr>
              <a:defRPr lang="en-US" sz="2000" b="1" dirty="0" smtClean="0">
                <a:solidFill>
                  <a:schemeClr val="accent1"/>
                </a:solidFill>
              </a:defRPr>
            </a:lvl3pPr>
            <a:lvl4pPr>
              <a:defRPr lang="en-US" sz="2000" b="1" dirty="0" smtClean="0">
                <a:solidFill>
                  <a:schemeClr val="accent1"/>
                </a:solidFill>
              </a:defRPr>
            </a:lvl4pPr>
            <a:lvl5pPr>
              <a:defRPr lang="en-US" sz="1800" b="1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205E639-54B0-4870-A015-7D3CAC5DF4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72062" y="1071349"/>
            <a:ext cx="1681059" cy="5129420"/>
          </a:xfrm>
          <a:custGeom>
            <a:avLst/>
            <a:gdLst>
              <a:gd name="connsiteX0" fmla="*/ 0 w 1681059"/>
              <a:gd name="connsiteY0" fmla="*/ 0 h 5129420"/>
              <a:gd name="connsiteX1" fmla="*/ 1531008 w 1681059"/>
              <a:gd name="connsiteY1" fmla="*/ 0 h 5129420"/>
              <a:gd name="connsiteX2" fmla="*/ 1681059 w 1681059"/>
              <a:gd name="connsiteY2" fmla="*/ 2564710 h 5129420"/>
              <a:gd name="connsiteX3" fmla="*/ 1531008 w 1681059"/>
              <a:gd name="connsiteY3" fmla="*/ 5129420 h 5129420"/>
              <a:gd name="connsiteX4" fmla="*/ 0 w 1681059"/>
              <a:gd name="connsiteY4" fmla="*/ 5129420 h 5129420"/>
              <a:gd name="connsiteX5" fmla="*/ 150051 w 1681059"/>
              <a:gd name="connsiteY5" fmla="*/ 2564710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81059" h="5129420">
                <a:moveTo>
                  <a:pt x="0" y="0"/>
                </a:moveTo>
                <a:lnTo>
                  <a:pt x="1531008" y="0"/>
                </a:lnTo>
                <a:lnTo>
                  <a:pt x="1681059" y="2564710"/>
                </a:lnTo>
                <a:lnTo>
                  <a:pt x="1531008" y="5129420"/>
                </a:lnTo>
                <a:lnTo>
                  <a:pt x="0" y="5129420"/>
                </a:lnTo>
                <a:lnTo>
                  <a:pt x="150051" y="256471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2000" b="1" dirty="0" smtClean="0">
                <a:solidFill>
                  <a:schemeClr val="accent1"/>
                </a:solidFill>
              </a:defRPr>
            </a:lvl2pPr>
            <a:lvl3pPr>
              <a:defRPr lang="en-US" sz="2000" b="1" dirty="0" smtClean="0">
                <a:solidFill>
                  <a:schemeClr val="accent1"/>
                </a:solidFill>
              </a:defRPr>
            </a:lvl3pPr>
            <a:lvl4pPr>
              <a:defRPr lang="en-US" sz="2000" b="1" dirty="0" smtClean="0">
                <a:solidFill>
                  <a:schemeClr val="accent1"/>
                </a:solidFill>
              </a:defRPr>
            </a:lvl4pPr>
            <a:lvl5pPr>
              <a:defRPr lang="en-US" sz="1800" b="1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E3127B0-7884-40E5-9D04-0F2C52D4D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10029" y="1071355"/>
            <a:ext cx="1673985" cy="5129420"/>
          </a:xfrm>
          <a:custGeom>
            <a:avLst/>
            <a:gdLst>
              <a:gd name="connsiteX0" fmla="*/ 1 w 1673985"/>
              <a:gd name="connsiteY0" fmla="*/ 0 h 5129420"/>
              <a:gd name="connsiteX1" fmla="*/ 118006 w 1673985"/>
              <a:gd name="connsiteY1" fmla="*/ 0 h 5129420"/>
              <a:gd name="connsiteX2" fmla="*/ 1673985 w 1673985"/>
              <a:gd name="connsiteY2" fmla="*/ 0 h 5129420"/>
              <a:gd name="connsiteX3" fmla="*/ 1673985 w 1673985"/>
              <a:gd name="connsiteY3" fmla="*/ 5129420 h 5129420"/>
              <a:gd name="connsiteX4" fmla="*/ 0 w 1673985"/>
              <a:gd name="connsiteY4" fmla="*/ 5129414 h 5129420"/>
              <a:gd name="connsiteX5" fmla="*/ 150052 w 1673985"/>
              <a:gd name="connsiteY5" fmla="*/ 2564704 h 5129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3985" h="5129420">
                <a:moveTo>
                  <a:pt x="1" y="0"/>
                </a:moveTo>
                <a:lnTo>
                  <a:pt x="118006" y="0"/>
                </a:lnTo>
                <a:lnTo>
                  <a:pt x="1673985" y="0"/>
                </a:lnTo>
                <a:lnTo>
                  <a:pt x="1673985" y="5129420"/>
                </a:lnTo>
                <a:lnTo>
                  <a:pt x="0" y="5129414"/>
                </a:lnTo>
                <a:lnTo>
                  <a:pt x="150052" y="2564704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252000" tIns="72000" rIns="72000" bIns="45720" rtlCol="0" anchor="ctr" anchorCtr="0">
            <a:noAutofit/>
          </a:bodyPr>
          <a:lstStyle>
            <a:lvl1pPr marL="0" indent="0">
              <a:buNone/>
              <a:defRPr lang="en-US" sz="2000" b="1" smtClean="0">
                <a:solidFill>
                  <a:schemeClr val="accent1"/>
                </a:solidFill>
              </a:defRPr>
            </a:lvl1pPr>
            <a:lvl2pPr>
              <a:defRPr lang="en-US" sz="2000" b="1" smtClean="0">
                <a:solidFill>
                  <a:schemeClr val="accent1"/>
                </a:solidFill>
              </a:defRPr>
            </a:lvl2pPr>
            <a:lvl3pPr>
              <a:defRPr lang="en-US" sz="2000" b="1" smtClean="0">
                <a:solidFill>
                  <a:schemeClr val="accent1"/>
                </a:solidFill>
              </a:defRPr>
            </a:lvl3pPr>
            <a:lvl4pPr>
              <a:defRPr lang="en-US" sz="2000" b="1" smtClean="0">
                <a:solidFill>
                  <a:schemeClr val="accent1"/>
                </a:solidFill>
              </a:defRPr>
            </a:lvl4pPr>
            <a:lvl5pPr>
              <a:defRPr lang="en-US" sz="1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/>
          <p:nvPr userDrawn="1"/>
        </p:nvCxnSpPr>
        <p:spPr>
          <a:xfrm>
            <a:off x="3540125" y="1071349"/>
            <a:ext cx="0" cy="51383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988DB6-6A53-4449-84BB-EEDE9629719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6061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art Ve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6E74C9D-A30B-4D20-BC99-B3E335271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360000" rIns="0" bIns="360000" rtlCol="0" anchor="ctr" anchorCtr="0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040238-DCC8-4532-9AE6-EB7C834F336E}"/>
              </a:ext>
            </a:extLst>
          </p:cNvPr>
          <p:cNvCxnSpPr>
            <a:cxnSpLocks/>
          </p:cNvCxnSpPr>
          <p:nvPr userDrawn="1"/>
        </p:nvCxnSpPr>
        <p:spPr>
          <a:xfrm>
            <a:off x="3540125" y="4330699"/>
            <a:ext cx="0" cy="187903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AC320E-1DF9-44A2-A51A-436D6C7AB1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1365" y="5721531"/>
            <a:ext cx="4692647" cy="479244"/>
          </a:xfrm>
        </p:spPr>
        <p:txBody>
          <a:bodyPr anchor="ctr" anchorCtr="0"/>
          <a:lstStyle>
            <a:lvl1pPr marL="0" indent="0" algn="r"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Area 2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925C54A2-C6A7-453B-A026-DE720519F8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37998" y="413521"/>
            <a:ext cx="4966039" cy="479244"/>
          </a:xfrm>
        </p:spPr>
        <p:txBody>
          <a:bodyPr anchor="ctr" anchorCtr="0"/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rea 1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24DA58F-EB63-429D-8E40-10866A63D15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177C92-B54F-4A6C-BEC0-3BCCA571DA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9224" y="1025839"/>
            <a:ext cx="4744814" cy="4744814"/>
          </a:xfrm>
          <a:custGeom>
            <a:avLst/>
            <a:gdLst>
              <a:gd name="connsiteX0" fmla="*/ 2372407 w 4744814"/>
              <a:gd name="connsiteY0" fmla="*/ 0 h 4744814"/>
              <a:gd name="connsiteX1" fmla="*/ 4744814 w 4744814"/>
              <a:gd name="connsiteY1" fmla="*/ 2372407 h 4744814"/>
              <a:gd name="connsiteX2" fmla="*/ 2372407 w 4744814"/>
              <a:gd name="connsiteY2" fmla="*/ 4744814 h 4744814"/>
              <a:gd name="connsiteX3" fmla="*/ 0 w 4744814"/>
              <a:gd name="connsiteY3" fmla="*/ 2372407 h 4744814"/>
              <a:gd name="connsiteX4" fmla="*/ 2372407 w 4744814"/>
              <a:gd name="connsiteY4" fmla="*/ 0 h 474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4814" h="4744814">
                <a:moveTo>
                  <a:pt x="2372407" y="0"/>
                </a:moveTo>
                <a:cubicBezTo>
                  <a:pt x="3682651" y="0"/>
                  <a:pt x="4744814" y="1062163"/>
                  <a:pt x="4744814" y="2372407"/>
                </a:cubicBezTo>
                <a:cubicBezTo>
                  <a:pt x="4744814" y="3682651"/>
                  <a:pt x="3682651" y="4744814"/>
                  <a:pt x="2372407" y="4744814"/>
                </a:cubicBezTo>
                <a:cubicBezTo>
                  <a:pt x="1062163" y="4744814"/>
                  <a:pt x="0" y="3682651"/>
                  <a:pt x="0" y="2372407"/>
                </a:cubicBezTo>
                <a:cubicBezTo>
                  <a:pt x="0" y="1062163"/>
                  <a:pt x="1062163" y="0"/>
                  <a:pt x="2372407" y="0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txBody>
          <a:bodyPr wrap="square" lIns="216000" tIns="216000" rIns="216000" bIns="216000" anchor="ctr" anchorCtr="0">
            <a:noAutofit/>
          </a:bodyPr>
          <a:lstStyle>
            <a:lvl1pPr marL="0" indent="0" algn="l">
              <a:buNone/>
              <a:defRPr sz="2000"/>
            </a:lvl1pPr>
            <a:lvl2pPr marL="288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52B587-0295-454B-801F-369445E17E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91365" y="1025840"/>
            <a:ext cx="4551996" cy="4551996"/>
          </a:xfrm>
          <a:custGeom>
            <a:avLst/>
            <a:gdLst>
              <a:gd name="connsiteX0" fmla="*/ 2275998 w 4551996"/>
              <a:gd name="connsiteY0" fmla="*/ 0 h 4551996"/>
              <a:gd name="connsiteX1" fmla="*/ 4551996 w 4551996"/>
              <a:gd name="connsiteY1" fmla="*/ 2275998 h 4551996"/>
              <a:gd name="connsiteX2" fmla="*/ 2275998 w 4551996"/>
              <a:gd name="connsiteY2" fmla="*/ 4551996 h 4551996"/>
              <a:gd name="connsiteX3" fmla="*/ 0 w 4551996"/>
              <a:gd name="connsiteY3" fmla="*/ 2275998 h 4551996"/>
              <a:gd name="connsiteX4" fmla="*/ 2275998 w 4551996"/>
              <a:gd name="connsiteY4" fmla="*/ 0 h 4551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996" h="4551996">
                <a:moveTo>
                  <a:pt x="2275998" y="0"/>
                </a:moveTo>
                <a:cubicBezTo>
                  <a:pt x="3532997" y="0"/>
                  <a:pt x="4551996" y="1018999"/>
                  <a:pt x="4551996" y="2275998"/>
                </a:cubicBezTo>
                <a:cubicBezTo>
                  <a:pt x="4551996" y="3532997"/>
                  <a:pt x="3532997" y="4551996"/>
                  <a:pt x="2275998" y="4551996"/>
                </a:cubicBezTo>
                <a:cubicBezTo>
                  <a:pt x="1018999" y="4551996"/>
                  <a:pt x="0" y="3532997"/>
                  <a:pt x="0" y="2275998"/>
                </a:cubicBezTo>
                <a:cubicBezTo>
                  <a:pt x="0" y="1018999"/>
                  <a:pt x="1018999" y="0"/>
                  <a:pt x="2275998" y="0"/>
                </a:cubicBez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txBody>
          <a:bodyPr wrap="square" lIns="216000" tIns="216000" rIns="216000" bIns="216000" anchor="ctr" anchorCtr="0">
            <a:noAutofit/>
          </a:bodyPr>
          <a:lstStyle>
            <a:lvl1pPr marL="0" indent="0" algn="r">
              <a:buNone/>
              <a:defRPr sz="2000"/>
            </a:lvl1pPr>
            <a:lvl2pPr marL="288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680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art Ve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CE679A43-C1D3-43D2-B618-6648FCBB0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3875391" cy="4330699"/>
          </a:xfrm>
          <a:custGeom>
            <a:avLst/>
            <a:gdLst>
              <a:gd name="connsiteX0" fmla="*/ 417122 w 3875391"/>
              <a:gd name="connsiteY0" fmla="*/ 0 h 4330699"/>
              <a:gd name="connsiteX1" fmla="*/ 2700571 w 3875391"/>
              <a:gd name="connsiteY1" fmla="*/ 0 h 4330699"/>
              <a:gd name="connsiteX2" fmla="*/ 2854048 w 3875391"/>
              <a:gd name="connsiteY2" fmla="*/ 93240 h 4330699"/>
              <a:gd name="connsiteX3" fmla="*/ 3870691 w 3875391"/>
              <a:gd name="connsiteY3" fmla="*/ 1865383 h 4330699"/>
              <a:gd name="connsiteX4" fmla="*/ 3875391 w 3875391"/>
              <a:gd name="connsiteY4" fmla="*/ 2014156 h 4330699"/>
              <a:gd name="connsiteX5" fmla="*/ 3868636 w 3875391"/>
              <a:gd name="connsiteY5" fmla="*/ 2192391 h 4330699"/>
              <a:gd name="connsiteX6" fmla="*/ 3479762 w 3875391"/>
              <a:gd name="connsiteY6" fmla="*/ 3309357 h 4330699"/>
              <a:gd name="connsiteX7" fmla="*/ 3457575 w 3875391"/>
              <a:gd name="connsiteY7" fmla="*/ 3339026 h 4330699"/>
              <a:gd name="connsiteX8" fmla="*/ 3457575 w 3875391"/>
              <a:gd name="connsiteY8" fmla="*/ 3339027 h 4330699"/>
              <a:gd name="connsiteX9" fmla="*/ 3457575 w 3875391"/>
              <a:gd name="connsiteY9" fmla="*/ 3343273 h 4330699"/>
              <a:gd name="connsiteX10" fmla="*/ 3457575 w 3875391"/>
              <a:gd name="connsiteY10" fmla="*/ 3343274 h 4330699"/>
              <a:gd name="connsiteX11" fmla="*/ 3454399 w 3875391"/>
              <a:gd name="connsiteY11" fmla="*/ 3343274 h 4330699"/>
              <a:gd name="connsiteX12" fmla="*/ 3454398 w 3875391"/>
              <a:gd name="connsiteY12" fmla="*/ 3343274 h 4330699"/>
              <a:gd name="connsiteX13" fmla="*/ 3346405 w 3875391"/>
              <a:gd name="connsiteY13" fmla="*/ 3487692 h 4330699"/>
              <a:gd name="connsiteX14" fmla="*/ 1558846 w 3875391"/>
              <a:gd name="connsiteY14" fmla="*/ 4330699 h 4330699"/>
              <a:gd name="connsiteX15" fmla="*/ 85309 w 3875391"/>
              <a:gd name="connsiteY15" fmla="*/ 3801713 h 4330699"/>
              <a:gd name="connsiteX16" fmla="*/ 0 w 3875391"/>
              <a:gd name="connsiteY16" fmla="*/ 3724179 h 4330699"/>
              <a:gd name="connsiteX17" fmla="*/ 0 w 3875391"/>
              <a:gd name="connsiteY17" fmla="*/ 304131 h 4330699"/>
              <a:gd name="connsiteX18" fmla="*/ 85309 w 3875391"/>
              <a:gd name="connsiteY18" fmla="*/ 226597 h 4330699"/>
              <a:gd name="connsiteX19" fmla="*/ 263644 w 3875391"/>
              <a:gd name="connsiteY19" fmla="*/ 9324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75391" h="4330699">
                <a:moveTo>
                  <a:pt x="417122" y="0"/>
                </a:moveTo>
                <a:lnTo>
                  <a:pt x="2700571" y="0"/>
                </a:lnTo>
                <a:lnTo>
                  <a:pt x="2854048" y="93240"/>
                </a:lnTo>
                <a:cubicBezTo>
                  <a:pt x="3431740" y="483521"/>
                  <a:pt x="3823924" y="1127538"/>
                  <a:pt x="3870691" y="1865383"/>
                </a:cubicBezTo>
                <a:lnTo>
                  <a:pt x="3875391" y="2014156"/>
                </a:lnTo>
                <a:lnTo>
                  <a:pt x="3868636" y="2192391"/>
                </a:lnTo>
                <a:cubicBezTo>
                  <a:pt x="3837305" y="2604167"/>
                  <a:pt x="3698320" y="2985849"/>
                  <a:pt x="3479762" y="3309357"/>
                </a:cubicBezTo>
                <a:lnTo>
                  <a:pt x="3457575" y="3339026"/>
                </a:lnTo>
                <a:lnTo>
                  <a:pt x="3457575" y="3339027"/>
                </a:lnTo>
                <a:lnTo>
                  <a:pt x="3457575" y="3343273"/>
                </a:lnTo>
                <a:lnTo>
                  <a:pt x="3457575" y="3343274"/>
                </a:lnTo>
                <a:lnTo>
                  <a:pt x="3454399" y="3343274"/>
                </a:lnTo>
                <a:lnTo>
                  <a:pt x="3454398" y="3343274"/>
                </a:lnTo>
                <a:lnTo>
                  <a:pt x="3346405" y="3487692"/>
                </a:lnTo>
                <a:cubicBezTo>
                  <a:pt x="2921516" y="4002538"/>
                  <a:pt x="2278504" y="4330699"/>
                  <a:pt x="1558846" y="4330699"/>
                </a:cubicBezTo>
                <a:cubicBezTo>
                  <a:pt x="999112" y="4330699"/>
                  <a:pt x="485745" y="4132182"/>
                  <a:pt x="85309" y="3801713"/>
                </a:cubicBezTo>
                <a:lnTo>
                  <a:pt x="0" y="3724179"/>
                </a:lnTo>
                <a:lnTo>
                  <a:pt x="0" y="304131"/>
                </a:lnTo>
                <a:lnTo>
                  <a:pt x="85309" y="226597"/>
                </a:lnTo>
                <a:cubicBezTo>
                  <a:pt x="142514" y="179387"/>
                  <a:pt x="202023" y="134871"/>
                  <a:pt x="263644" y="9324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396000" tIns="360000" rIns="0" bIns="360000" rtlCol="0" anchor="ctr" anchorCtr="0">
            <a:norm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enter title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CF1364-95FC-4822-BD65-0519B5DD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FF9A92-5BDB-40F9-8C9E-94BECF288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AC320E-1DF9-44A2-A51A-436D6C7AB1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9280" y="5721531"/>
            <a:ext cx="2684732" cy="479244"/>
          </a:xfrm>
        </p:spPr>
        <p:txBody>
          <a:bodyPr anchor="ctr" anchorCtr="0"/>
          <a:lstStyle>
            <a:lvl1pPr marL="0" indent="0" algn="r"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Area 2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925C54A2-C6A7-453B-A026-DE720519F8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37999" y="413521"/>
            <a:ext cx="2684732" cy="479244"/>
          </a:xfrm>
        </p:spPr>
        <p:txBody>
          <a:bodyPr anchor="ctr" anchorCtr="0"/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Area 1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DA67BBE-42FB-4675-BA49-55180E772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37999" y="5721531"/>
            <a:ext cx="2684732" cy="479244"/>
          </a:xfrm>
        </p:spPr>
        <p:txBody>
          <a:bodyPr anchor="ctr" anchorCtr="0"/>
          <a:lstStyle>
            <a:lvl1pPr marL="0" indent="0" algn="l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Area 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893DD14-159D-41FE-AAAC-200509635D39}"/>
              </a:ext>
            </a:extLst>
          </p:cNvPr>
          <p:cNvCxnSpPr>
            <a:cxnSpLocks/>
          </p:cNvCxnSpPr>
          <p:nvPr userDrawn="1"/>
        </p:nvCxnSpPr>
        <p:spPr>
          <a:xfrm>
            <a:off x="3540125" y="4330699"/>
            <a:ext cx="0" cy="187903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E0AA4C-0CEB-4BA4-99C1-8A5E2917EC8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FEEB0DF-D76E-4018-97C0-4011D11FD7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30994" y="450839"/>
            <a:ext cx="3322800" cy="3322800"/>
          </a:xfrm>
          <a:custGeom>
            <a:avLst/>
            <a:gdLst>
              <a:gd name="connsiteX0" fmla="*/ 2372407 w 4744814"/>
              <a:gd name="connsiteY0" fmla="*/ 0 h 4744814"/>
              <a:gd name="connsiteX1" fmla="*/ 4744814 w 4744814"/>
              <a:gd name="connsiteY1" fmla="*/ 2372407 h 4744814"/>
              <a:gd name="connsiteX2" fmla="*/ 2372407 w 4744814"/>
              <a:gd name="connsiteY2" fmla="*/ 4744814 h 4744814"/>
              <a:gd name="connsiteX3" fmla="*/ 0 w 4744814"/>
              <a:gd name="connsiteY3" fmla="*/ 2372407 h 4744814"/>
              <a:gd name="connsiteX4" fmla="*/ 2372407 w 4744814"/>
              <a:gd name="connsiteY4" fmla="*/ 0 h 474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4814" h="4744814">
                <a:moveTo>
                  <a:pt x="2372407" y="0"/>
                </a:moveTo>
                <a:cubicBezTo>
                  <a:pt x="3682651" y="0"/>
                  <a:pt x="4744814" y="1062163"/>
                  <a:pt x="4744814" y="2372407"/>
                </a:cubicBezTo>
                <a:cubicBezTo>
                  <a:pt x="4744814" y="3682651"/>
                  <a:pt x="3682651" y="4744814"/>
                  <a:pt x="2372407" y="4744814"/>
                </a:cubicBezTo>
                <a:cubicBezTo>
                  <a:pt x="1062163" y="4744814"/>
                  <a:pt x="0" y="3682651"/>
                  <a:pt x="0" y="2372407"/>
                </a:cubicBezTo>
                <a:cubicBezTo>
                  <a:pt x="0" y="1062163"/>
                  <a:pt x="1062163" y="0"/>
                  <a:pt x="2372407" y="0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txBody>
          <a:bodyPr wrap="square" lIns="216000" tIns="216000" rIns="216000" bIns="216000" anchor="t" anchorCtr="0">
            <a:noAutofit/>
          </a:bodyPr>
          <a:lstStyle>
            <a:lvl1pPr marL="0" indent="0" algn="ctr">
              <a:buNone/>
              <a:defRPr sz="2000"/>
            </a:lvl1pPr>
            <a:lvl2pPr marL="288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conten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7CB0A9A-BC50-4E66-80DB-AD09ECE873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21325" y="2398730"/>
            <a:ext cx="3322795" cy="3322795"/>
          </a:xfrm>
          <a:custGeom>
            <a:avLst/>
            <a:gdLst>
              <a:gd name="connsiteX0" fmla="*/ 2275998 w 4551996"/>
              <a:gd name="connsiteY0" fmla="*/ 0 h 4551996"/>
              <a:gd name="connsiteX1" fmla="*/ 4551996 w 4551996"/>
              <a:gd name="connsiteY1" fmla="*/ 2275998 h 4551996"/>
              <a:gd name="connsiteX2" fmla="*/ 2275998 w 4551996"/>
              <a:gd name="connsiteY2" fmla="*/ 4551996 h 4551996"/>
              <a:gd name="connsiteX3" fmla="*/ 0 w 4551996"/>
              <a:gd name="connsiteY3" fmla="*/ 2275998 h 4551996"/>
              <a:gd name="connsiteX4" fmla="*/ 2275998 w 4551996"/>
              <a:gd name="connsiteY4" fmla="*/ 0 h 4551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996" h="4551996">
                <a:moveTo>
                  <a:pt x="2275998" y="0"/>
                </a:moveTo>
                <a:cubicBezTo>
                  <a:pt x="3532997" y="0"/>
                  <a:pt x="4551996" y="1018999"/>
                  <a:pt x="4551996" y="2275998"/>
                </a:cubicBezTo>
                <a:cubicBezTo>
                  <a:pt x="4551996" y="3532997"/>
                  <a:pt x="3532997" y="4551996"/>
                  <a:pt x="2275998" y="4551996"/>
                </a:cubicBezTo>
                <a:cubicBezTo>
                  <a:pt x="1018999" y="4551996"/>
                  <a:pt x="0" y="3532997"/>
                  <a:pt x="0" y="2275998"/>
                </a:cubicBezTo>
                <a:cubicBezTo>
                  <a:pt x="0" y="1018999"/>
                  <a:pt x="1018999" y="0"/>
                  <a:pt x="2275998" y="0"/>
                </a:cubicBez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txBody>
          <a:bodyPr wrap="square" lIns="216000" tIns="216000" rIns="216000" bIns="216000" anchor="ctr" anchorCtr="0">
            <a:noAutofit/>
          </a:bodyPr>
          <a:lstStyle>
            <a:lvl1pPr marL="0" indent="0" algn="r">
              <a:buNone/>
              <a:defRPr sz="2000"/>
            </a:lvl1pPr>
            <a:lvl2pPr marL="288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conten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0A2EE6C-CB46-4E6C-AA14-4291780930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40662" y="2398730"/>
            <a:ext cx="3322795" cy="3322795"/>
          </a:xfrm>
          <a:custGeom>
            <a:avLst/>
            <a:gdLst>
              <a:gd name="connsiteX0" fmla="*/ 2275998 w 4551996"/>
              <a:gd name="connsiteY0" fmla="*/ 0 h 4551996"/>
              <a:gd name="connsiteX1" fmla="*/ 4551996 w 4551996"/>
              <a:gd name="connsiteY1" fmla="*/ 2275998 h 4551996"/>
              <a:gd name="connsiteX2" fmla="*/ 2275998 w 4551996"/>
              <a:gd name="connsiteY2" fmla="*/ 4551996 h 4551996"/>
              <a:gd name="connsiteX3" fmla="*/ 0 w 4551996"/>
              <a:gd name="connsiteY3" fmla="*/ 2275998 h 4551996"/>
              <a:gd name="connsiteX4" fmla="*/ 2275998 w 4551996"/>
              <a:gd name="connsiteY4" fmla="*/ 0 h 4551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996" h="4551996">
                <a:moveTo>
                  <a:pt x="2275998" y="0"/>
                </a:moveTo>
                <a:cubicBezTo>
                  <a:pt x="3532997" y="0"/>
                  <a:pt x="4551996" y="1018999"/>
                  <a:pt x="4551996" y="2275998"/>
                </a:cubicBezTo>
                <a:cubicBezTo>
                  <a:pt x="4551996" y="3532997"/>
                  <a:pt x="3532997" y="4551996"/>
                  <a:pt x="2275998" y="4551996"/>
                </a:cubicBezTo>
                <a:cubicBezTo>
                  <a:pt x="1018999" y="4551996"/>
                  <a:pt x="0" y="3532997"/>
                  <a:pt x="0" y="2275998"/>
                </a:cubicBezTo>
                <a:cubicBezTo>
                  <a:pt x="0" y="1018999"/>
                  <a:pt x="1018999" y="0"/>
                  <a:pt x="2275998" y="0"/>
                </a:cubicBez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txBody>
          <a:bodyPr wrap="square" lIns="216000" tIns="216000" rIns="216000" bIns="216000" anchor="ctr" anchorCtr="0">
            <a:noAutofit/>
          </a:bodyPr>
          <a:lstStyle>
            <a:lvl1pPr marL="0" indent="0" algn="l">
              <a:buNone/>
              <a:defRPr sz="2000"/>
            </a:lvl1pPr>
            <a:lvl2pPr marL="288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9064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30">
          <p15:clr>
            <a:srgbClr val="C35E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22DA5D-EC7E-40C3-8862-3E3748AD6C3A}"/>
              </a:ext>
            </a:extLst>
          </p:cNvPr>
          <p:cNvSpPr txBox="1">
            <a:spLocks/>
          </p:cNvSpPr>
          <p:nvPr userDrawn="1"/>
        </p:nvSpPr>
        <p:spPr>
          <a:xfrm>
            <a:off x="1257304" y="769811"/>
            <a:ext cx="9677394" cy="53183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/>
              <a:t>Do not use layouts</a:t>
            </a:r>
            <a:br>
              <a:rPr lang="en-US" sz="9600"/>
            </a:br>
            <a:r>
              <a:rPr lang="en-US" sz="9600"/>
              <a:t>in this section appearing after this point. </a:t>
            </a: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142580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48B27A-10B7-4200-88E7-16263562F97B}"/>
              </a:ext>
            </a:extLst>
          </p:cNvPr>
          <p:cNvSpPr txBox="1"/>
          <p:nvPr userDrawn="1"/>
        </p:nvSpPr>
        <p:spPr>
          <a:xfrm>
            <a:off x="419100" y="4864100"/>
            <a:ext cx="9156700" cy="10287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>
                <a:solidFill>
                  <a:schemeClr val="tx1"/>
                </a:solidFill>
                <a:latin typeface="+mn-lt"/>
                <a:cs typeface="Arial"/>
              </a:rPr>
              <a:t>Confidentiality</a:t>
            </a:r>
            <a:r>
              <a:rPr lang="en-US" sz="1200" b="1" spc="-10">
                <a:solidFill>
                  <a:schemeClr val="tx1"/>
                </a:solidFill>
                <a:latin typeface="+mn-lt"/>
                <a:cs typeface="Arial"/>
              </a:rPr>
              <a:t> </a:t>
            </a:r>
            <a:r>
              <a:rPr lang="en-US" sz="1200" b="1" spc="-5">
                <a:solidFill>
                  <a:schemeClr val="tx1"/>
                </a:solidFill>
                <a:latin typeface="+mn-lt"/>
                <a:cs typeface="Arial"/>
              </a:rPr>
              <a:t>Notice</a:t>
            </a:r>
            <a:endParaRPr lang="en-US" sz="1200">
              <a:solidFill>
                <a:schemeClr val="tx1"/>
              </a:solidFill>
              <a:latin typeface="+mn-lt"/>
              <a:cs typeface="Arial"/>
            </a:endParaRPr>
          </a:p>
          <a:p>
            <a:pPr marL="26670" marR="5080">
              <a:lnSpc>
                <a:spcPct val="102699"/>
              </a:lnSpc>
              <a:spcBef>
                <a:spcPts val="780"/>
              </a:spcBef>
            </a:pP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This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file is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private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and may contain confidential and proprietary information.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If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you have received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this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file in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error, please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notify us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and remove 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it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from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your system and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note that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you must not copy,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distribute or take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any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action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in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reliance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on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it.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Any unauthorized use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or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disclosure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of the 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contents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of this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file is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not permitted and may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be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unlawful. AstraZeneca PLC, </a:t>
            </a:r>
            <a:r>
              <a:rPr lang="en-US" sz="1200">
                <a:solidFill>
                  <a:schemeClr val="tx1"/>
                </a:solidFill>
                <a:latin typeface="+mn-lt"/>
                <a:cs typeface="Arial"/>
              </a:rPr>
              <a:t>1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Francis Crick Avenue, Cambridge Biomedical </a:t>
            </a:r>
            <a:r>
              <a:rPr lang="en-US" sz="1200" spc="15">
                <a:solidFill>
                  <a:schemeClr val="tx1"/>
                </a:solidFill>
                <a:latin typeface="+mn-lt"/>
                <a:cs typeface="Arial"/>
              </a:rPr>
              <a:t>Campus, 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Cambridge, CB2 0AA, UK, </a:t>
            </a:r>
            <a:r>
              <a:rPr lang="en-US" sz="1200" spc="5">
                <a:solidFill>
                  <a:schemeClr val="tx1"/>
                </a:solidFill>
                <a:latin typeface="+mn-lt"/>
                <a:cs typeface="Arial"/>
              </a:rPr>
              <a:t>T: </a:t>
            </a:r>
            <a:r>
              <a:rPr lang="en-US" sz="1200" spc="10">
                <a:solidFill>
                  <a:schemeClr val="tx1"/>
                </a:solidFill>
                <a:latin typeface="+mn-lt"/>
                <a:cs typeface="Arial"/>
              </a:rPr>
              <a:t>+44(0)203 749 5000,</a:t>
            </a:r>
            <a:r>
              <a:rPr lang="en-US" sz="1200" spc="85">
                <a:solidFill>
                  <a:schemeClr val="tx1"/>
                </a:solidFill>
                <a:latin typeface="+mn-lt"/>
                <a:cs typeface="Arial"/>
              </a:rPr>
              <a:t> </a:t>
            </a:r>
            <a:r>
              <a:rPr lang="en-US" sz="1200" u="none" spc="10">
                <a:solidFill>
                  <a:schemeClr val="tx1"/>
                </a:solidFill>
                <a:latin typeface="+mn-lt"/>
                <a:cs typeface="Arial"/>
              </a:rPr>
              <a:t>www.astrazeneca.com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B750B5-01B2-430D-BF92-6E5CD9338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5C10CA0-7F28-40CE-9633-59C6800E7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47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 material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7">
            <a:extLst>
              <a:ext uri="{FF2B5EF4-FFF2-40B4-BE49-F238E27FC236}">
                <a16:creationId xmlns:a16="http://schemas.microsoft.com/office/drawing/2014/main" id="{04DB76CF-2039-45C4-B354-9EE97D797645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76387880"/>
              </p:ext>
            </p:extLst>
          </p:nvPr>
        </p:nvGraphicFramePr>
        <p:xfrm>
          <a:off x="407988" y="1562100"/>
          <a:ext cx="11329647" cy="3949404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3020953081"/>
                    </a:ext>
                  </a:extLst>
                </a:gridCol>
                <a:gridCol w="3733633">
                  <a:extLst>
                    <a:ext uri="{9D8B030D-6E8A-4147-A177-3AD203B41FA5}">
                      <a16:colId xmlns:a16="http://schemas.microsoft.com/office/drawing/2014/main" val="2772063876"/>
                    </a:ext>
                  </a:extLst>
                </a:gridCol>
                <a:gridCol w="1954381">
                  <a:extLst>
                    <a:ext uri="{9D8B030D-6E8A-4147-A177-3AD203B41FA5}">
                      <a16:colId xmlns:a16="http://schemas.microsoft.com/office/drawing/2014/main" val="3401200571"/>
                    </a:ext>
                  </a:extLst>
                </a:gridCol>
                <a:gridCol w="3733633">
                  <a:extLst>
                    <a:ext uri="{9D8B030D-6E8A-4147-A177-3AD203B41FA5}">
                      <a16:colId xmlns:a16="http://schemas.microsoft.com/office/drawing/2014/main" val="3073099758"/>
                    </a:ext>
                  </a:extLst>
                </a:gridCol>
              </a:tblGrid>
              <a:tr h="284393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Asset Tit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5573207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Intended U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Webs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1839488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Brand or TA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Approval 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604142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One Time U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Expiration 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429679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Approved for Use B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Aud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7158807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Distrib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4415841"/>
                  </a:ext>
                </a:extLst>
              </a:tr>
              <a:tr h="47399">
                <a:tc>
                  <a:txBody>
                    <a:bodyPr/>
                    <a:lstStyle/>
                    <a:p>
                      <a:endParaRPr lang="en-US" sz="3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374596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Asset Ow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Document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264365"/>
                  </a:ext>
                </a:extLst>
              </a:tr>
              <a:tr h="4739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New Asset/Renew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Based On Asset: </a:t>
                      </a:r>
                      <a:r>
                        <a:rPr lang="en-US" sz="1200" b="1" err="1">
                          <a:solidFill>
                            <a:schemeClr val="bg1"/>
                          </a:solidFill>
                        </a:rPr>
                        <a:t>PromoMats</a:t>
                      </a: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en-US" sz="1200" b="1" err="1">
                          <a:solidFill>
                            <a:schemeClr val="bg1"/>
                          </a:solidFill>
                        </a:rPr>
                        <a:t>MedComms</a:t>
                      </a: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7768145"/>
                  </a:ext>
                </a:extLst>
              </a:tr>
              <a:tr h="47399">
                <a:tc>
                  <a:txBody>
                    <a:bodyPr/>
                    <a:lstStyle/>
                    <a:p>
                      <a:endParaRPr lang="en-US" sz="3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9571672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Veeva C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Restricted U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0472451"/>
                  </a:ext>
                </a:extLst>
              </a:tr>
              <a:tr h="2843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MSL Leave-behi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If Yes, Fair Market 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664936"/>
                  </a:ext>
                </a:extLst>
              </a:tr>
              <a:tr h="8210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Special Instructions</a:t>
                      </a:r>
                      <a:br>
                        <a:rPr lang="en-US" sz="1200" b="1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and/or Disclaim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512750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08E80C85-5DA4-4A5C-8DF2-B56EA4DBF182}"/>
              </a:ext>
            </a:extLst>
          </p:cNvPr>
          <p:cNvSpPr txBox="1">
            <a:spLocks/>
          </p:cNvSpPr>
          <p:nvPr userDrawn="1"/>
        </p:nvSpPr>
        <p:spPr>
          <a:xfrm>
            <a:off x="407987" y="416889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MA material cover she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F47440-0181-47EA-AD36-E50E768DD4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0300" y="1592284"/>
            <a:ext cx="932688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&lt;&lt;MAAZAP&gt; &lt;#######&lt;TA&gt; &lt;Asset Title&gt; 70 character limi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925113D-6657-4599-B0F5-6FF0AB9472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00300" y="18843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Reactive or Proactiv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D9114A8-616B-486E-9E92-00E337C753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1800" y="18843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0C3A556-4916-4E1D-B04B-572FD96029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00300" y="21637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and or TA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253ED03-21A0-44F7-BD09-2666D60972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51800" y="21637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355F49D-FCEB-4737-A7FE-0297BC495C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00300" y="244953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sz="1200"/>
              <a:t>Yes or No. If Yes - MM/YY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17F7E43-F372-42E2-8782-3D4EA680F7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00300" y="27352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sz="1200"/>
              <a:t>Any MA </a:t>
            </a:r>
            <a:r>
              <a:rPr lang="en-US" sz="1200" err="1"/>
              <a:t>SciP</a:t>
            </a:r>
            <a:r>
              <a:rPr lang="en-US" sz="1200"/>
              <a:t>, MSL, MA MM, or Other MA Ro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690615B3-69C7-48E9-9205-2074212578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51800" y="244953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MM/YY (if &lt;1 year)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B3A7C6B-D77E-4065-8C54-B73ADEBAAC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51800" y="272893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Any HCP, MM Only, Contracted EE, or Other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84FBF64-16E5-4F89-A4A0-2E3587E310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00300" y="3021034"/>
            <a:ext cx="932688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Yes or No. If Yes - Reactive via MI, Reactive via MI </a:t>
            </a:r>
            <a:r>
              <a:rPr lang="en-US" err="1"/>
              <a:t>SciP</a:t>
            </a:r>
            <a:r>
              <a:rPr lang="en-US"/>
              <a:t>, or Proactiv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D5C8090-9756-4CB3-B7DD-F4CDC41FCC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00300" y="33575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Asset Owner Nam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CD87786-7ED8-4EE1-B3B3-A6479A715E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00300" y="371953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New, Renewal, or Renewal with Changes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D9B817E-A629-4622-9AC6-41D2225A8F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51800" y="33575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ML-XXXX-US-XXXX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2D501DA-67EF-4777-9F2D-C3939AA845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51800" y="371953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#################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9E037D0-0F77-44B7-9103-198F043B94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00300" y="4165622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Yes or No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D6106A2-A056-419F-B716-0409932806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00300" y="44497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Yes or No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BF6C55C-A804-4A53-ADEF-31F1D645B7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1800" y="4165622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Yes or No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76A9016-F7A1-4312-93C6-EA22ACE9E0B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51800" y="4449784"/>
            <a:ext cx="3587750" cy="21270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If Yes - $Valu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B0D90536-A5DA-41EA-B290-AD700D87E1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00300" y="4777084"/>
            <a:ext cx="9239250" cy="615654"/>
          </a:xfrm>
          <a:prstGeom prst="rect">
            <a:avLst/>
          </a:prstGeom>
        </p:spPr>
        <p:txBody>
          <a:bodyPr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N/A or Enter Instruc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A2A3E3-164F-4AAA-A9F6-A4BAFFBD8DD5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5072D7A-46D0-4869-AC3D-8CEFC15C6A8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0001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slideLayout" Target="../slideLayouts/slideLayout3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9.xml"/><Relationship Id="rId7" Type="http://schemas.openxmlformats.org/officeDocument/2006/relationships/tags" Target="../tags/tag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2.sv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4.xml"/><Relationship Id="rId7" Type="http://schemas.openxmlformats.org/officeDocument/2006/relationships/tags" Target="../tags/tag59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9" Type="http://schemas.openxmlformats.org/officeDocument/2006/relationships/image" Target="../media/image2.sv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.png"/><Relationship Id="rId5" Type="http://schemas.openxmlformats.org/officeDocument/2006/relationships/tags" Target="../tags/tag65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6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nter title her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6258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6258"/>
            <a:ext cx="407988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9AFB22-68D2-45FA-9BF6-270F64718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5"/>
            <a:ext cx="9729676" cy="564628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2125873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3846" r:id="rId2"/>
    <p:sldLayoutId id="2147483987" r:id="rId3"/>
    <p:sldLayoutId id="2147483840" r:id="rId4"/>
    <p:sldLayoutId id="2147483850" r:id="rId5"/>
    <p:sldLayoutId id="2147483950" r:id="rId6"/>
    <p:sldLayoutId id="2147483849" r:id="rId7"/>
    <p:sldLayoutId id="2147483851" r:id="rId8"/>
    <p:sldLayoutId id="2147483949" r:id="rId9"/>
    <p:sldLayoutId id="2147483852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92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2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C35EA4"/>
          </p15:clr>
        </p15:guide>
        <p15:guide id="2" pos="7423" userDrawn="1">
          <p15:clr>
            <a:srgbClr val="C35EA4"/>
          </p15:clr>
        </p15:guide>
        <p15:guide id="3" orient="horz" pos="3906" userDrawn="1">
          <p15:clr>
            <a:srgbClr val="C35EA4"/>
          </p15:clr>
        </p15:guide>
        <p15:guide id="4" orient="horz" pos="255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7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9F1A57-BA54-491E-98D6-4D0E0A0D6B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6" cy="563169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2532496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04" r:id="rId2"/>
    <p:sldLayoutId id="2147483848" r:id="rId3"/>
    <p:sldLayoutId id="2147483988" r:id="rId4"/>
    <p:sldLayoutId id="2147483989" r:id="rId5"/>
    <p:sldLayoutId id="2147483990" r:id="rId6"/>
    <p:sldLayoutId id="2147483993" r:id="rId7"/>
    <p:sldLayoutId id="2147483994" r:id="rId8"/>
    <p:sldLayoutId id="2147484101" r:id="rId9"/>
    <p:sldLayoutId id="2147484102" r:id="rId10"/>
    <p:sldLayoutId id="2147484103" r:id="rId11"/>
    <p:sldLayoutId id="2147484104" r:id="rId12"/>
    <p:sldLayoutId id="2147483985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7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CF445A-018E-4682-A304-F8931F9968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5" cy="563169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13"/>
    </p:custDataLst>
    <p:extLst>
      <p:ext uri="{BB962C8B-B14F-4D97-AF65-F5344CB8AC3E}">
        <p14:creationId xmlns:p14="http://schemas.microsoft.com/office/powerpoint/2010/main" val="39123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105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8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A1384E-56BA-4705-A13F-FDA354DB15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6" cy="563169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3754330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50" r:id="rId3"/>
    <p:sldLayoutId id="2147484108" r:id="rId4"/>
    <p:sldLayoutId id="2147484006" r:id="rId5"/>
    <p:sldLayoutId id="2147484008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8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8DC687-85C4-47EE-B4FC-20DCB2E21E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4"/>
            <a:ext cx="9729675" cy="563171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2327450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9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8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4737EA-9E0A-4454-8BE3-D24D43F5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5" cy="563169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424521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4" r:id="rId3"/>
    <p:sldLayoutId id="2147484023" r:id="rId4"/>
    <p:sldLayoutId id="2147484025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7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54BD1F-A6D1-4ECF-983B-AD2015001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5" cy="563169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44264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106" r:id="rId2"/>
    <p:sldLayoutId id="2147484028" r:id="rId3"/>
    <p:sldLayoutId id="2147484107" r:id="rId4"/>
    <p:sldLayoutId id="2147484031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7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F9C71F-AEBA-41B0-8B53-3A9D57352F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5" cy="563169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23571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884D0-6C0A-4957-A521-E7AECDD8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2"/>
            <a:ext cx="11376025" cy="10074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nter title her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8F6B2-FAF9-4D08-B8BD-F2646AEF39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37663" y="6454800"/>
            <a:ext cx="1279358" cy="309145"/>
          </a:xfrm>
          <a:prstGeom prst="rect">
            <a:avLst/>
          </a:prstGeom>
        </p:spPr>
        <p:txBody>
          <a:bodyPr vert="horz" lIns="91440" tIns="45720" rIns="9144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0E024-D0BA-4349-981A-F74D8D612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54800"/>
            <a:ext cx="407987" cy="30914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611C7859-08D9-4DAD-BB25-DD22F6761BE3}"/>
              </a:ext>
            </a:extLst>
          </p:cNvPr>
          <p:cNvSpPr txBox="1">
            <a:spLocks/>
          </p:cNvSpPr>
          <p:nvPr/>
        </p:nvSpPr>
        <p:spPr>
          <a:xfrm>
            <a:off x="11597151" y="6303999"/>
            <a:ext cx="294812" cy="355098"/>
          </a:xfrm>
          <a:prstGeom prst="rect">
            <a:avLst/>
          </a:pr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48C0A-0C4B-4F9E-B86F-C76D98029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567814"/>
            <a:ext cx="11376025" cy="460800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 here. </a:t>
            </a:r>
            <a:br>
              <a:rPr lang="en-US" dirty="0"/>
            </a:br>
            <a:r>
              <a:rPr lang="en-US" dirty="0"/>
              <a:t>When pasting copy from other slides, be sure to right-click and choose ‘Keep text only’. </a:t>
            </a:r>
            <a:br>
              <a:rPr lang="en-US" dirty="0"/>
            </a:br>
            <a:r>
              <a:rPr lang="en-US" dirty="0"/>
              <a:t>To increase bullet level, select your text and press Tab.</a:t>
            </a:r>
            <a:br>
              <a:rPr lang="en-US" dirty="0"/>
            </a:br>
            <a:r>
              <a:rPr lang="en-US" dirty="0"/>
              <a:t>To decrease bullet level, select your bullet text and press Shift + Tab.</a:t>
            </a:r>
          </a:p>
          <a:p>
            <a:pPr marL="576000" marR="0" lvl="1" indent="-288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792000" lvl="2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972000" lvl="3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A98B2B-AD07-4AAC-B4B8-CD0CBF9307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200776"/>
            <a:ext cx="9729675" cy="563170"/>
          </a:xfrm>
          <a:prstGeom prst="rect">
            <a:avLst/>
          </a:prstGeom>
        </p:spPr>
        <p:txBody>
          <a:bodyPr vert="horz" wrap="square" lIns="91440" tIns="0" rIns="91440" bIns="72000" rtlCol="0" anchor="b" anchorCtr="0">
            <a:noAutofit/>
          </a:bodyPr>
          <a:lstStyle>
            <a:lvl1pPr>
              <a:defRPr lang="en-US" sz="1000" dirty="0"/>
            </a:lvl1pPr>
          </a:lstStyle>
          <a:p>
            <a:pPr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295661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  <p:sldLayoutId id="2147484043" r:id="rId11"/>
    <p:sldLayoutId id="2147484044" r:id="rId12"/>
    <p:sldLayoutId id="2147484045" r:id="rId13"/>
    <p:sldLayoutId id="2147484046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900" marR="0" indent="-34290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tabLst/>
        <a:defRPr lang="en-US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98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Tx/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C35EA4"/>
          </p15:clr>
        </p15:guide>
        <p15:guide id="2" pos="7423">
          <p15:clr>
            <a:srgbClr val="C35EA4"/>
          </p15:clr>
        </p15:guide>
        <p15:guide id="3" orient="horz" pos="3906">
          <p15:clr>
            <a:srgbClr val="C35EA4"/>
          </p15:clr>
        </p15:guide>
        <p15:guide id="4" orient="horz" pos="255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tags" Target="../tags/tag8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2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microsoft.com/office/2007/relationships/hdphoto" Target="../media/hdphoto1.wdp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753E70-1D03-4A1F-9463-EE019A73F8D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952065"/>
            <a:ext cx="10938239" cy="54811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C93446-2E6F-4B4F-B7CF-B248205A46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2726" y="3310158"/>
            <a:ext cx="2776284" cy="30551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2078134-DD40-4B85-A435-503AC4754B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146" y="2725478"/>
            <a:ext cx="8279321" cy="30610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90048B-7235-4791-9F34-7821D81FF1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364" y="986558"/>
            <a:ext cx="6368521" cy="30877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B085A1F-BF6D-46B4-B4F6-A44F823A47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719" y="934078"/>
            <a:ext cx="3537178" cy="2704190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0BEE4100-153D-483F-AA97-EADA0D509B51}"/>
              </a:ext>
            </a:extLst>
          </p:cNvPr>
          <p:cNvSpPr txBox="1">
            <a:spLocks/>
          </p:cNvSpPr>
          <p:nvPr/>
        </p:nvSpPr>
        <p:spPr>
          <a:xfrm>
            <a:off x="124902" y="321332"/>
            <a:ext cx="12551191" cy="4757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400">
                <a:solidFill>
                  <a:schemeClr val="accent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200" dirty="0">
                <a:latin typeface="Arial"/>
                <a:cs typeface="Arial"/>
              </a:rPr>
              <a:t>Established supply capacity to enable broad, equitable access towards 3bn doses worldwid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584BE0-31EF-4C68-885B-713443AD08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0334" y="2190037"/>
            <a:ext cx="543290" cy="5795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60F2B1C-7808-4EE3-B082-9207865A73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67" y="1723999"/>
            <a:ext cx="3332179" cy="216108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0651E49-6EA1-42DB-B851-7AF547BAE1C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633" y="4183510"/>
            <a:ext cx="1400481" cy="14367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D139FF6-6824-417E-BF83-F1356C7A0B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6070" y="2536823"/>
            <a:ext cx="2040356" cy="14246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889500F-E5FD-40C7-9341-FA7F3A4B89B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2579" y="3106353"/>
            <a:ext cx="434632" cy="265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B9971C2-0F17-4BC4-9024-1E65F0110AA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6929" y="4526410"/>
            <a:ext cx="1605724" cy="1376335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EFE646DC-502F-4F68-86BA-5071ED3F25B2}"/>
              </a:ext>
            </a:extLst>
          </p:cNvPr>
          <p:cNvGrpSpPr/>
          <p:nvPr/>
        </p:nvGrpSpPr>
        <p:grpSpPr>
          <a:xfrm>
            <a:off x="9341917" y="2911116"/>
            <a:ext cx="513496" cy="627112"/>
            <a:chOff x="10904873" y="941706"/>
            <a:chExt cx="513496" cy="62711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5B93258-4002-422F-A229-839DBB56AA66}"/>
                </a:ext>
              </a:extLst>
            </p:cNvPr>
            <p:cNvGrpSpPr/>
            <p:nvPr/>
          </p:nvGrpSpPr>
          <p:grpSpPr>
            <a:xfrm>
              <a:off x="10904873" y="941706"/>
              <a:ext cx="513496" cy="627112"/>
              <a:chOff x="10904873" y="941706"/>
              <a:chExt cx="513496" cy="627112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BEFD317D-08DC-4361-90E5-7F4DB952085B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6E9CDD08-1EE3-40F6-8F61-9231F7305B5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71D374B6-2F0A-40F3-86C1-5721D6225009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rgbClr val="9F4E7B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5" name="Group 24">
                  <a:extLst>
                    <a:ext uri="{FF2B5EF4-FFF2-40B4-BE49-F238E27FC236}">
                      <a16:creationId xmlns:a16="http://schemas.microsoft.com/office/drawing/2014/main" id="{1B1EB93A-A551-4CC9-82F4-E9322F555EB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36" name="Freeform 25">
                    <a:extLst>
                      <a:ext uri="{FF2B5EF4-FFF2-40B4-BE49-F238E27FC236}">
                        <a16:creationId xmlns:a16="http://schemas.microsoft.com/office/drawing/2014/main" id="{E3E83015-DACB-404D-8650-8781533541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7" name="Freeform 26">
                    <a:extLst>
                      <a:ext uri="{FF2B5EF4-FFF2-40B4-BE49-F238E27FC236}">
                        <a16:creationId xmlns:a16="http://schemas.microsoft.com/office/drawing/2014/main" id="{2CCC92EB-6D5C-4304-A974-15C12D069C7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8" name="Freeform 27">
                    <a:extLst>
                      <a:ext uri="{FF2B5EF4-FFF2-40B4-BE49-F238E27FC236}">
                        <a16:creationId xmlns:a16="http://schemas.microsoft.com/office/drawing/2014/main" id="{496AAB91-99F2-47A9-A448-466C59A55B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32" name="Freeform 383">
                <a:extLst>
                  <a:ext uri="{FF2B5EF4-FFF2-40B4-BE49-F238E27FC236}">
                    <a16:creationId xmlns:a16="http://schemas.microsoft.com/office/drawing/2014/main" id="{BD537365-78A5-4DDC-BAA0-E92FF1C7F085}"/>
                  </a:ext>
                </a:extLst>
              </p:cNvPr>
              <p:cNvSpPr/>
              <p:nvPr/>
            </p:nvSpPr>
            <p:spPr>
              <a:xfrm>
                <a:off x="10904873" y="1337970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9F4E7B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7C85367-3469-41F1-AD92-5066E90EE7D9}"/>
                </a:ext>
              </a:extLst>
            </p:cNvPr>
            <p:cNvSpPr txBox="1"/>
            <p:nvPr/>
          </p:nvSpPr>
          <p:spPr>
            <a:xfrm>
              <a:off x="10907391" y="1405239"/>
              <a:ext cx="5084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BioKangTai</a:t>
              </a:r>
            </a:p>
            <a:p>
              <a:r>
                <a:rPr lang="en-GB" b="0"/>
                <a:t>200m doses</a:t>
              </a:r>
              <a:endParaRPr lang="es-CO" b="0" dirty="0"/>
            </a:p>
          </p:txBody>
        </p:sp>
      </p:grpSp>
      <p:pic>
        <p:nvPicPr>
          <p:cNvPr id="220" name="Picture 219">
            <a:extLst>
              <a:ext uri="{FF2B5EF4-FFF2-40B4-BE49-F238E27FC236}">
                <a16:creationId xmlns:a16="http://schemas.microsoft.com/office/drawing/2014/main" id="{EFF25266-6A27-4E7F-BF9C-7378733AF5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8936" y="2758082"/>
            <a:ext cx="905093" cy="721628"/>
          </a:xfrm>
          <a:prstGeom prst="rect">
            <a:avLst/>
          </a:prstGeom>
        </p:spPr>
      </p:pic>
      <p:pic>
        <p:nvPicPr>
          <p:cNvPr id="235" name="Picture 234">
            <a:extLst>
              <a:ext uri="{FF2B5EF4-FFF2-40B4-BE49-F238E27FC236}">
                <a16:creationId xmlns:a16="http://schemas.microsoft.com/office/drawing/2014/main" id="{104C289F-A888-4685-890B-2FFFF530E88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8496" y="948640"/>
            <a:ext cx="2722929" cy="2180752"/>
          </a:xfrm>
          <a:prstGeom prst="rect">
            <a:avLst/>
          </a:prstGeom>
        </p:spPr>
      </p:pic>
      <p:pic>
        <p:nvPicPr>
          <p:cNvPr id="236" name="Picture 235">
            <a:extLst>
              <a:ext uri="{FF2B5EF4-FFF2-40B4-BE49-F238E27FC236}">
                <a16:creationId xmlns:a16="http://schemas.microsoft.com/office/drawing/2014/main" id="{25AC76EB-F1C3-43D1-9B51-D729AF1525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450" y="3292633"/>
            <a:ext cx="144877" cy="193170"/>
          </a:xfrm>
          <a:prstGeom prst="rect">
            <a:avLst/>
          </a:prstGeom>
        </p:spPr>
      </p:pic>
      <p:pic>
        <p:nvPicPr>
          <p:cNvPr id="234" name="Picture 233">
            <a:extLst>
              <a:ext uri="{FF2B5EF4-FFF2-40B4-BE49-F238E27FC236}">
                <a16:creationId xmlns:a16="http://schemas.microsoft.com/office/drawing/2014/main" id="{1C93AF33-FC70-4730-A9DE-3D389BE331F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0639" y="3592536"/>
            <a:ext cx="229389" cy="193170"/>
          </a:xfrm>
          <a:prstGeom prst="rect">
            <a:avLst/>
          </a:prstGeom>
        </p:spPr>
      </p:pic>
      <p:pic>
        <p:nvPicPr>
          <p:cNvPr id="237" name="Picture 236">
            <a:extLst>
              <a:ext uri="{FF2B5EF4-FFF2-40B4-BE49-F238E27FC236}">
                <a16:creationId xmlns:a16="http://schemas.microsoft.com/office/drawing/2014/main" id="{7DA547E8-F70B-4044-A115-3110F365FE1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064" y="5303571"/>
            <a:ext cx="651948" cy="772679"/>
          </a:xfrm>
          <a:prstGeom prst="rect">
            <a:avLst/>
          </a:prstGeom>
        </p:spPr>
      </p:pic>
      <p:pic>
        <p:nvPicPr>
          <p:cNvPr id="232" name="Picture 231">
            <a:extLst>
              <a:ext uri="{FF2B5EF4-FFF2-40B4-BE49-F238E27FC236}">
                <a16:creationId xmlns:a16="http://schemas.microsoft.com/office/drawing/2014/main" id="{5B99BE3C-DAC1-4E24-B19D-065D8CFE15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4262" y="3443237"/>
            <a:ext cx="1677868" cy="1383935"/>
          </a:xfrm>
          <a:prstGeom prst="rect">
            <a:avLst/>
          </a:prstGeom>
        </p:spPr>
      </p:pic>
      <p:grpSp>
        <p:nvGrpSpPr>
          <p:cNvPr id="520" name="Group 519">
            <a:extLst>
              <a:ext uri="{FF2B5EF4-FFF2-40B4-BE49-F238E27FC236}">
                <a16:creationId xmlns:a16="http://schemas.microsoft.com/office/drawing/2014/main" id="{DB66E986-9324-6948-AE4A-ABD631886C35}"/>
              </a:ext>
            </a:extLst>
          </p:cNvPr>
          <p:cNvGrpSpPr/>
          <p:nvPr/>
        </p:nvGrpSpPr>
        <p:grpSpPr>
          <a:xfrm>
            <a:off x="1112634" y="955204"/>
            <a:ext cx="10942255" cy="5483204"/>
            <a:chOff x="1108549" y="951839"/>
            <a:chExt cx="10942255" cy="5483204"/>
          </a:xfrm>
        </p:grpSpPr>
        <p:pic>
          <p:nvPicPr>
            <p:cNvPr id="521" name="Picture 520">
              <a:extLst>
                <a:ext uri="{FF2B5EF4-FFF2-40B4-BE49-F238E27FC236}">
                  <a16:creationId xmlns:a16="http://schemas.microsoft.com/office/drawing/2014/main" id="{A8761728-E9B7-AD42-B26C-30C08F147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8549" y="951839"/>
              <a:ext cx="10942255" cy="5483204"/>
            </a:xfrm>
            <a:prstGeom prst="rect">
              <a:avLst/>
            </a:prstGeom>
          </p:spPr>
        </p:pic>
        <p:grpSp>
          <p:nvGrpSpPr>
            <p:cNvPr id="522" name="Group 521">
              <a:extLst>
                <a:ext uri="{FF2B5EF4-FFF2-40B4-BE49-F238E27FC236}">
                  <a16:creationId xmlns:a16="http://schemas.microsoft.com/office/drawing/2014/main" id="{1A0BDC6B-ECB3-A243-848C-ED23EC73034F}"/>
                </a:ext>
              </a:extLst>
            </p:cNvPr>
            <p:cNvGrpSpPr/>
            <p:nvPr/>
          </p:nvGrpSpPr>
          <p:grpSpPr>
            <a:xfrm>
              <a:off x="4600292" y="3839904"/>
              <a:ext cx="7309005" cy="1242090"/>
              <a:chOff x="4600292" y="3839904"/>
              <a:chExt cx="7309005" cy="1242090"/>
            </a:xfrm>
          </p:grpSpPr>
          <p:sp>
            <p:nvSpPr>
              <p:cNvPr id="523" name="Oval 522">
                <a:extLst>
                  <a:ext uri="{FF2B5EF4-FFF2-40B4-BE49-F238E27FC236}">
                    <a16:creationId xmlns:a16="http://schemas.microsoft.com/office/drawing/2014/main" id="{85A0B957-9CCF-4041-9A1C-86FD97BAA4C5}"/>
                  </a:ext>
                </a:extLst>
              </p:cNvPr>
              <p:cNvSpPr/>
              <p:nvPr/>
            </p:nvSpPr>
            <p:spPr>
              <a:xfrm>
                <a:off x="5727357" y="3839904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dirty="0" err="1"/>
                  <a:t> </a:t>
                </a:r>
              </a:p>
            </p:txBody>
          </p:sp>
          <p:sp>
            <p:nvSpPr>
              <p:cNvPr id="524" name="Oval 523">
                <a:extLst>
                  <a:ext uri="{FF2B5EF4-FFF2-40B4-BE49-F238E27FC236}">
                    <a16:creationId xmlns:a16="http://schemas.microsoft.com/office/drawing/2014/main" id="{550D721F-798A-F44B-AA7F-5C405F4DC172}"/>
                  </a:ext>
                </a:extLst>
              </p:cNvPr>
              <p:cNvSpPr/>
              <p:nvPr/>
            </p:nvSpPr>
            <p:spPr>
              <a:xfrm>
                <a:off x="11839149" y="4532421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25" name="Oval 524">
                <a:extLst>
                  <a:ext uri="{FF2B5EF4-FFF2-40B4-BE49-F238E27FC236}">
                    <a16:creationId xmlns:a16="http://schemas.microsoft.com/office/drawing/2014/main" id="{1A0ED547-9F9E-3441-9C08-3042F5AE3853}"/>
                  </a:ext>
                </a:extLst>
              </p:cNvPr>
              <p:cNvSpPr/>
              <p:nvPr/>
            </p:nvSpPr>
            <p:spPr>
              <a:xfrm>
                <a:off x="10751203" y="4112725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26" name="Oval 525">
                <a:extLst>
                  <a:ext uri="{FF2B5EF4-FFF2-40B4-BE49-F238E27FC236}">
                    <a16:creationId xmlns:a16="http://schemas.microsoft.com/office/drawing/2014/main" id="{9ACBD9D5-4C58-144F-8226-8AC96543294B}"/>
                  </a:ext>
                </a:extLst>
              </p:cNvPr>
              <p:cNvSpPr/>
              <p:nvPr/>
            </p:nvSpPr>
            <p:spPr>
              <a:xfrm>
                <a:off x="6534391" y="4369872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27" name="Oval 526">
                <a:extLst>
                  <a:ext uri="{FF2B5EF4-FFF2-40B4-BE49-F238E27FC236}">
                    <a16:creationId xmlns:a16="http://schemas.microsoft.com/office/drawing/2014/main" id="{193DDCF7-CA37-8B49-96FF-FA580EE2593C}"/>
                  </a:ext>
                </a:extLst>
              </p:cNvPr>
              <p:cNvSpPr/>
              <p:nvPr/>
            </p:nvSpPr>
            <p:spPr>
              <a:xfrm>
                <a:off x="11010283" y="4605485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28" name="Oval 527">
                <a:extLst>
                  <a:ext uri="{FF2B5EF4-FFF2-40B4-BE49-F238E27FC236}">
                    <a16:creationId xmlns:a16="http://schemas.microsoft.com/office/drawing/2014/main" id="{3F0B974B-1F61-A246-B61F-419EB7B764C2}"/>
                  </a:ext>
                </a:extLst>
              </p:cNvPr>
              <p:cNvSpPr/>
              <p:nvPr/>
            </p:nvSpPr>
            <p:spPr>
              <a:xfrm>
                <a:off x="10075563" y="4615645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29" name="Oval 528">
                <a:extLst>
                  <a:ext uri="{FF2B5EF4-FFF2-40B4-BE49-F238E27FC236}">
                    <a16:creationId xmlns:a16="http://schemas.microsoft.com/office/drawing/2014/main" id="{65A05CCB-1DAE-F24A-9AC6-9918F23926CF}"/>
                  </a:ext>
                </a:extLst>
              </p:cNvPr>
              <p:cNvSpPr/>
              <p:nvPr/>
            </p:nvSpPr>
            <p:spPr>
              <a:xfrm>
                <a:off x="11315083" y="4808685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0" name="Oval 529">
                <a:extLst>
                  <a:ext uri="{FF2B5EF4-FFF2-40B4-BE49-F238E27FC236}">
                    <a16:creationId xmlns:a16="http://schemas.microsoft.com/office/drawing/2014/main" id="{8C7F327F-E7AC-674C-B7EB-AFA396606198}"/>
                  </a:ext>
                </a:extLst>
              </p:cNvPr>
              <p:cNvSpPr/>
              <p:nvPr/>
            </p:nvSpPr>
            <p:spPr>
              <a:xfrm>
                <a:off x="4600292" y="3882706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1" name="Oval 530">
                <a:extLst>
                  <a:ext uri="{FF2B5EF4-FFF2-40B4-BE49-F238E27FC236}">
                    <a16:creationId xmlns:a16="http://schemas.microsoft.com/office/drawing/2014/main" id="{1D6CC7E1-591F-9548-8FDC-BA18C2497D1C}"/>
                  </a:ext>
                </a:extLst>
              </p:cNvPr>
              <p:cNvSpPr/>
              <p:nvPr/>
            </p:nvSpPr>
            <p:spPr>
              <a:xfrm>
                <a:off x="11588324" y="4894371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2" name="Oval 531">
                <a:extLst>
                  <a:ext uri="{FF2B5EF4-FFF2-40B4-BE49-F238E27FC236}">
                    <a16:creationId xmlns:a16="http://schemas.microsoft.com/office/drawing/2014/main" id="{42D83CD9-862B-AF40-BFBB-797BA272C215}"/>
                  </a:ext>
                </a:extLst>
              </p:cNvPr>
              <p:cNvSpPr/>
              <p:nvPr/>
            </p:nvSpPr>
            <p:spPr>
              <a:xfrm>
                <a:off x="4604591" y="4025730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3" name="Oval 532">
                <a:extLst>
                  <a:ext uri="{FF2B5EF4-FFF2-40B4-BE49-F238E27FC236}">
                    <a16:creationId xmlns:a16="http://schemas.microsoft.com/office/drawing/2014/main" id="{F8600AEF-33F7-E447-AD79-C102ECCD0801}"/>
                  </a:ext>
                </a:extLst>
              </p:cNvPr>
              <p:cNvSpPr/>
              <p:nvPr/>
            </p:nvSpPr>
            <p:spPr>
              <a:xfrm>
                <a:off x="8489968" y="4248381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4" name="Oval 533">
                <a:extLst>
                  <a:ext uri="{FF2B5EF4-FFF2-40B4-BE49-F238E27FC236}">
                    <a16:creationId xmlns:a16="http://schemas.microsoft.com/office/drawing/2014/main" id="{69BD3667-391B-D444-AA6A-3B68EF0B860B}"/>
                  </a:ext>
                </a:extLst>
              </p:cNvPr>
              <p:cNvSpPr/>
              <p:nvPr/>
            </p:nvSpPr>
            <p:spPr>
              <a:xfrm>
                <a:off x="11513203" y="4207975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5" name="Oval 534">
                <a:extLst>
                  <a:ext uri="{FF2B5EF4-FFF2-40B4-BE49-F238E27FC236}">
                    <a16:creationId xmlns:a16="http://schemas.microsoft.com/office/drawing/2014/main" id="{76D4B709-563B-6046-B43A-BBF539306CC6}"/>
                  </a:ext>
                </a:extLst>
              </p:cNvPr>
              <p:cNvSpPr/>
              <p:nvPr/>
            </p:nvSpPr>
            <p:spPr>
              <a:xfrm>
                <a:off x="11728024" y="4741971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6" name="Oval 535">
                <a:extLst>
                  <a:ext uri="{FF2B5EF4-FFF2-40B4-BE49-F238E27FC236}">
                    <a16:creationId xmlns:a16="http://schemas.microsoft.com/office/drawing/2014/main" id="{D5D0E70F-A217-194F-BFFB-C5FE1E39A3BE}"/>
                  </a:ext>
                </a:extLst>
              </p:cNvPr>
              <p:cNvSpPr/>
              <p:nvPr/>
            </p:nvSpPr>
            <p:spPr>
              <a:xfrm>
                <a:off x="4604591" y="3968580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7" name="Oval 536">
                <a:extLst>
                  <a:ext uri="{FF2B5EF4-FFF2-40B4-BE49-F238E27FC236}">
                    <a16:creationId xmlns:a16="http://schemas.microsoft.com/office/drawing/2014/main" id="{87221C6D-F9F3-1A4E-8256-1F975EED0E03}"/>
                  </a:ext>
                </a:extLst>
              </p:cNvPr>
              <p:cNvSpPr/>
              <p:nvPr/>
            </p:nvSpPr>
            <p:spPr>
              <a:xfrm>
                <a:off x="4600292" y="3933506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C11DBE89-7AC9-5347-8093-02D43C0EC6A3}"/>
                  </a:ext>
                </a:extLst>
              </p:cNvPr>
              <p:cNvSpPr/>
              <p:nvPr/>
            </p:nvSpPr>
            <p:spPr>
              <a:xfrm>
                <a:off x="11677224" y="5011846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A490F58F-7896-6B4C-AB73-C745EC37DB94}"/>
                  </a:ext>
                </a:extLst>
              </p:cNvPr>
              <p:cNvSpPr/>
              <p:nvPr/>
            </p:nvSpPr>
            <p:spPr>
              <a:xfrm>
                <a:off x="11575624" y="4741971"/>
                <a:ext cx="70148" cy="70148"/>
              </a:xfrm>
              <a:prstGeom prst="ellipse">
                <a:avLst/>
              </a:prstGeom>
              <a:pattFill prst="wdUpDiag">
                <a:fgClr>
                  <a:schemeClr val="bg1">
                    <a:lumMod val="7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 fontScale="25000" lnSpcReduction="20000"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dirty="0" err="1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BF9EE86-937E-43D8-87FE-3B521CCEF1DA}"/>
              </a:ext>
            </a:extLst>
          </p:cNvPr>
          <p:cNvGrpSpPr/>
          <p:nvPr/>
        </p:nvGrpSpPr>
        <p:grpSpPr>
          <a:xfrm>
            <a:off x="9149559" y="1821566"/>
            <a:ext cx="513496" cy="656003"/>
            <a:chOff x="10904873" y="941706"/>
            <a:chExt cx="513496" cy="656003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3B8BFE8-7281-452E-9D8A-753DE9542126}"/>
                </a:ext>
              </a:extLst>
            </p:cNvPr>
            <p:cNvGrpSpPr/>
            <p:nvPr/>
          </p:nvGrpSpPr>
          <p:grpSpPr>
            <a:xfrm>
              <a:off x="10904873" y="941706"/>
              <a:ext cx="513496" cy="627112"/>
              <a:chOff x="10904873" y="941706"/>
              <a:chExt cx="513496" cy="627112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5B203676-7AFC-4110-91EA-214BD23138C2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BB17265D-F35F-44CA-83BA-39A0E8BB590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2CD53DC1-6373-4A64-B551-A7F113B17A21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" name="Group 24">
                  <a:extLst>
                    <a:ext uri="{FF2B5EF4-FFF2-40B4-BE49-F238E27FC236}">
                      <a16:creationId xmlns:a16="http://schemas.microsoft.com/office/drawing/2014/main" id="{D01F15A4-A685-4EDE-8EE4-D973198F525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25" name="Freeform 25">
                    <a:extLst>
                      <a:ext uri="{FF2B5EF4-FFF2-40B4-BE49-F238E27FC236}">
                        <a16:creationId xmlns:a16="http://schemas.microsoft.com/office/drawing/2014/main" id="{4092791A-C4F7-49E5-A7D2-CC5A709AF3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6" name="Freeform 26">
                    <a:extLst>
                      <a:ext uri="{FF2B5EF4-FFF2-40B4-BE49-F238E27FC236}">
                        <a16:creationId xmlns:a16="http://schemas.microsoft.com/office/drawing/2014/main" id="{218B5878-C2FC-4C4D-941A-9CAB3B86A95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7" name="Freeform 27">
                    <a:extLst>
                      <a:ext uri="{FF2B5EF4-FFF2-40B4-BE49-F238E27FC236}">
                        <a16:creationId xmlns:a16="http://schemas.microsoft.com/office/drawing/2014/main" id="{FBD1DF4C-3ADA-41A1-9CA2-2CC4317A96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21" name="Freeform 374">
                <a:extLst>
                  <a:ext uri="{FF2B5EF4-FFF2-40B4-BE49-F238E27FC236}">
                    <a16:creationId xmlns:a16="http://schemas.microsoft.com/office/drawing/2014/main" id="{50716A18-1256-4735-A78E-416AFA94A70B}"/>
                  </a:ext>
                </a:extLst>
              </p:cNvPr>
              <p:cNvSpPr/>
              <p:nvPr/>
            </p:nvSpPr>
            <p:spPr>
              <a:xfrm>
                <a:off x="10904873" y="1337970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FD88C4C-1E6B-42C9-9A6C-BE9DB753F562}"/>
                </a:ext>
              </a:extLst>
            </p:cNvPr>
            <p:cNvSpPr txBox="1"/>
            <p:nvPr/>
          </p:nvSpPr>
          <p:spPr>
            <a:xfrm>
              <a:off x="10907391" y="1443821"/>
              <a:ext cx="5084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R-Pharm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AF90F16-9BBC-4BEB-B182-EB4A82553390}"/>
              </a:ext>
            </a:extLst>
          </p:cNvPr>
          <p:cNvGrpSpPr/>
          <p:nvPr/>
        </p:nvGrpSpPr>
        <p:grpSpPr>
          <a:xfrm>
            <a:off x="9872232" y="2411195"/>
            <a:ext cx="520624" cy="657457"/>
            <a:chOff x="11207187" y="2612180"/>
            <a:chExt cx="520624" cy="657457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E0A69EC-716A-4C00-AAE3-C6A0544CA410}"/>
                </a:ext>
              </a:extLst>
            </p:cNvPr>
            <p:cNvGrpSpPr/>
            <p:nvPr/>
          </p:nvGrpSpPr>
          <p:grpSpPr>
            <a:xfrm>
              <a:off x="11214315" y="2612180"/>
              <a:ext cx="513496" cy="628566"/>
              <a:chOff x="11214315" y="2612180"/>
              <a:chExt cx="513496" cy="628566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D25FD5B-E0FA-40E0-B9DD-5AFA2BC735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274687" y="2612180"/>
                <a:ext cx="392753" cy="392753"/>
              </a:xfrm>
              <a:prstGeom prst="ellipse">
                <a:avLst/>
              </a:prstGeom>
              <a:solidFill>
                <a:schemeClr val="bg1">
                  <a:lumMod val="85000"/>
                  <a:alpha val="76000"/>
                </a:schemeClr>
              </a:solidFill>
              <a:ln w="381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CR" sz="2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9185A6D0-090E-4E0F-A2E7-848C455AA9E0}"/>
                  </a:ext>
                </a:extLst>
              </p:cNvPr>
              <p:cNvSpPr/>
              <p:nvPr/>
            </p:nvSpPr>
            <p:spPr>
              <a:xfrm>
                <a:off x="11320420" y="2657914"/>
                <a:ext cx="301287" cy="301287"/>
              </a:xfrm>
              <a:prstGeom prst="ellipse">
                <a:avLst/>
              </a:prstGeom>
              <a:solidFill>
                <a:srgbClr val="F8CB8D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bIns="0" rtlCol="0" anchor="b"/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CR" sz="400" b="1" spc="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4" name="Group 24">
                <a:extLst>
                  <a:ext uri="{FF2B5EF4-FFF2-40B4-BE49-F238E27FC236}">
                    <a16:creationId xmlns:a16="http://schemas.microsoft.com/office/drawing/2014/main" id="{B4D44CE2-F1FC-4334-8A50-B12E38646BE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1368521" y="2710840"/>
                <a:ext cx="205084" cy="195436"/>
                <a:chOff x="3" y="2"/>
                <a:chExt cx="1424" cy="1357"/>
              </a:xfrm>
              <a:solidFill>
                <a:schemeClr val="bg1"/>
              </a:solidFill>
            </p:grpSpPr>
            <p:sp>
              <p:nvSpPr>
                <p:cNvPr id="46" name="Freeform 25">
                  <a:extLst>
                    <a:ext uri="{FF2B5EF4-FFF2-40B4-BE49-F238E27FC236}">
                      <a16:creationId xmlns:a16="http://schemas.microsoft.com/office/drawing/2014/main" id="{DA216B7D-F1A7-4350-817F-EEC6AF5D48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" y="529"/>
                  <a:ext cx="201" cy="201"/>
                </a:xfrm>
                <a:custGeom>
                  <a:avLst/>
                  <a:gdLst>
                    <a:gd name="T0" fmla="*/ 0 w 201"/>
                    <a:gd name="T1" fmla="*/ 168 h 201"/>
                    <a:gd name="T2" fmla="*/ 166 w 201"/>
                    <a:gd name="T3" fmla="*/ 0 h 201"/>
                    <a:gd name="T4" fmla="*/ 201 w 201"/>
                    <a:gd name="T5" fmla="*/ 33 h 201"/>
                    <a:gd name="T6" fmla="*/ 33 w 201"/>
                    <a:gd name="T7" fmla="*/ 201 h 201"/>
                    <a:gd name="T8" fmla="*/ 0 w 201"/>
                    <a:gd name="T9" fmla="*/ 168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1" h="201">
                      <a:moveTo>
                        <a:pt x="0" y="168"/>
                      </a:moveTo>
                      <a:lnTo>
                        <a:pt x="166" y="0"/>
                      </a:lnTo>
                      <a:lnTo>
                        <a:pt x="201" y="33"/>
                      </a:lnTo>
                      <a:lnTo>
                        <a:pt x="33" y="201"/>
                      </a:lnTo>
                      <a:lnTo>
                        <a:pt x="0" y="1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" name="Freeform 26">
                  <a:extLst>
                    <a:ext uri="{FF2B5EF4-FFF2-40B4-BE49-F238E27FC236}">
                      <a16:creationId xmlns:a16="http://schemas.microsoft.com/office/drawing/2014/main" id="{E0453EC4-D673-4FBF-AA4E-1426C7DA0EC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" y="2"/>
                  <a:ext cx="1303" cy="1357"/>
                </a:xfrm>
                <a:custGeom>
                  <a:avLst/>
                  <a:gdLst>
                    <a:gd name="T0" fmla="*/ 502 w 636"/>
                    <a:gd name="T1" fmla="*/ 275 h 662"/>
                    <a:gd name="T2" fmla="*/ 566 w 636"/>
                    <a:gd name="T3" fmla="*/ 215 h 662"/>
                    <a:gd name="T4" fmla="*/ 509 w 636"/>
                    <a:gd name="T5" fmla="*/ 239 h 662"/>
                    <a:gd name="T6" fmla="*/ 309 w 636"/>
                    <a:gd name="T7" fmla="*/ 222 h 662"/>
                    <a:gd name="T8" fmla="*/ 262 w 636"/>
                    <a:gd name="T9" fmla="*/ 249 h 662"/>
                    <a:gd name="T10" fmla="*/ 300 w 636"/>
                    <a:gd name="T11" fmla="*/ 106 h 662"/>
                    <a:gd name="T12" fmla="*/ 478 w 636"/>
                    <a:gd name="T13" fmla="*/ 90 h 662"/>
                    <a:gd name="T14" fmla="*/ 566 w 636"/>
                    <a:gd name="T15" fmla="*/ 16 h 662"/>
                    <a:gd name="T16" fmla="*/ 487 w 636"/>
                    <a:gd name="T17" fmla="*/ 63 h 662"/>
                    <a:gd name="T18" fmla="*/ 340 w 636"/>
                    <a:gd name="T19" fmla="*/ 66 h 662"/>
                    <a:gd name="T20" fmla="*/ 118 w 636"/>
                    <a:gd name="T21" fmla="*/ 245 h 662"/>
                    <a:gd name="T22" fmla="*/ 117 w 636"/>
                    <a:gd name="T23" fmla="*/ 262 h 662"/>
                    <a:gd name="T24" fmla="*/ 300 w 636"/>
                    <a:gd name="T25" fmla="*/ 246 h 662"/>
                    <a:gd name="T26" fmla="*/ 481 w 636"/>
                    <a:gd name="T27" fmla="*/ 286 h 662"/>
                    <a:gd name="T28" fmla="*/ 602 w 636"/>
                    <a:gd name="T29" fmla="*/ 450 h 662"/>
                    <a:gd name="T30" fmla="*/ 531 w 636"/>
                    <a:gd name="T31" fmla="*/ 421 h 662"/>
                    <a:gd name="T32" fmla="*/ 544 w 636"/>
                    <a:gd name="T33" fmla="*/ 466 h 662"/>
                    <a:gd name="T34" fmla="*/ 502 w 636"/>
                    <a:gd name="T35" fmla="*/ 508 h 662"/>
                    <a:gd name="T36" fmla="*/ 456 w 636"/>
                    <a:gd name="T37" fmla="*/ 496 h 662"/>
                    <a:gd name="T38" fmla="*/ 486 w 636"/>
                    <a:gd name="T39" fmla="*/ 567 h 662"/>
                    <a:gd name="T40" fmla="*/ 414 w 636"/>
                    <a:gd name="T41" fmla="*/ 537 h 662"/>
                    <a:gd name="T42" fmla="*/ 427 w 636"/>
                    <a:gd name="T43" fmla="*/ 583 h 662"/>
                    <a:gd name="T44" fmla="*/ 385 w 636"/>
                    <a:gd name="T45" fmla="*/ 625 h 662"/>
                    <a:gd name="T46" fmla="*/ 360 w 636"/>
                    <a:gd name="T47" fmla="*/ 530 h 662"/>
                    <a:gd name="T48" fmla="*/ 273 w 636"/>
                    <a:gd name="T49" fmla="*/ 458 h 662"/>
                    <a:gd name="T50" fmla="*/ 214 w 636"/>
                    <a:gd name="T51" fmla="*/ 400 h 662"/>
                    <a:gd name="T52" fmla="*/ 156 w 636"/>
                    <a:gd name="T53" fmla="*/ 341 h 662"/>
                    <a:gd name="T54" fmla="*/ 17 w 636"/>
                    <a:gd name="T55" fmla="*/ 257 h 662"/>
                    <a:gd name="T56" fmla="*/ 97 w 636"/>
                    <a:gd name="T57" fmla="*/ 370 h 662"/>
                    <a:gd name="T58" fmla="*/ 76 w 636"/>
                    <a:gd name="T59" fmla="*/ 466 h 662"/>
                    <a:gd name="T60" fmla="*/ 120 w 636"/>
                    <a:gd name="T61" fmla="*/ 481 h 662"/>
                    <a:gd name="T62" fmla="*/ 172 w 636"/>
                    <a:gd name="T63" fmla="*/ 540 h 662"/>
                    <a:gd name="T64" fmla="*/ 224 w 636"/>
                    <a:gd name="T65" fmla="*/ 598 h 662"/>
                    <a:gd name="T66" fmla="*/ 237 w 636"/>
                    <a:gd name="T67" fmla="*/ 598 h 662"/>
                    <a:gd name="T68" fmla="*/ 327 w 636"/>
                    <a:gd name="T69" fmla="*/ 642 h 662"/>
                    <a:gd name="T70" fmla="*/ 369 w 636"/>
                    <a:gd name="T71" fmla="*/ 642 h 662"/>
                    <a:gd name="T72" fmla="*/ 459 w 636"/>
                    <a:gd name="T73" fmla="*/ 598 h 662"/>
                    <a:gd name="T74" fmla="*/ 517 w 636"/>
                    <a:gd name="T75" fmla="*/ 540 h 662"/>
                    <a:gd name="T76" fmla="*/ 576 w 636"/>
                    <a:gd name="T77" fmla="*/ 481 h 662"/>
                    <a:gd name="T78" fmla="*/ 619 w 636"/>
                    <a:gd name="T79" fmla="*/ 391 h 662"/>
                    <a:gd name="T80" fmla="*/ 93 w 636"/>
                    <a:gd name="T81" fmla="*/ 450 h 662"/>
                    <a:gd name="T82" fmla="*/ 128 w 636"/>
                    <a:gd name="T83" fmla="*/ 373 h 662"/>
                    <a:gd name="T84" fmla="*/ 170 w 636"/>
                    <a:gd name="T85" fmla="*/ 415 h 662"/>
                    <a:gd name="T86" fmla="*/ 193 w 636"/>
                    <a:gd name="T87" fmla="*/ 508 h 662"/>
                    <a:gd name="T88" fmla="*/ 151 w 636"/>
                    <a:gd name="T89" fmla="*/ 466 h 662"/>
                    <a:gd name="T90" fmla="*/ 228 w 636"/>
                    <a:gd name="T91" fmla="*/ 432 h 662"/>
                    <a:gd name="T92" fmla="*/ 193 w 636"/>
                    <a:gd name="T93" fmla="*/ 508 h 662"/>
                    <a:gd name="T94" fmla="*/ 210 w 636"/>
                    <a:gd name="T95" fmla="*/ 525 h 662"/>
                    <a:gd name="T96" fmla="*/ 287 w 636"/>
                    <a:gd name="T97" fmla="*/ 490 h 662"/>
                    <a:gd name="T98" fmla="*/ 252 w 636"/>
                    <a:gd name="T99" fmla="*/ 567 h 662"/>
                    <a:gd name="T100" fmla="*/ 345 w 636"/>
                    <a:gd name="T101" fmla="*/ 590 h 662"/>
                    <a:gd name="T102" fmla="*/ 268 w 636"/>
                    <a:gd name="T103" fmla="*/ 624 h 662"/>
                    <a:gd name="T104" fmla="*/ 303 w 636"/>
                    <a:gd name="T105" fmla="*/ 548 h 662"/>
                    <a:gd name="T106" fmla="*/ 345 w 636"/>
                    <a:gd name="T107" fmla="*/ 590 h 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6" h="662">
                      <a:moveTo>
                        <a:pt x="619" y="391"/>
                      </a:moveTo>
                      <a:cubicBezTo>
                        <a:pt x="502" y="275"/>
                        <a:pt x="502" y="275"/>
                        <a:pt x="502" y="275"/>
                      </a:cubicBezTo>
                      <a:cubicBezTo>
                        <a:pt x="511" y="269"/>
                        <a:pt x="518" y="263"/>
                        <a:pt x="525" y="256"/>
                      </a:cubicBezTo>
                      <a:cubicBezTo>
                        <a:pt x="566" y="215"/>
                        <a:pt x="566" y="215"/>
                        <a:pt x="566" y="215"/>
                      </a:cubicBezTo>
                      <a:cubicBezTo>
                        <a:pt x="550" y="198"/>
                        <a:pt x="550" y="198"/>
                        <a:pt x="550" y="198"/>
                      </a:cubicBezTo>
                      <a:cubicBezTo>
                        <a:pt x="509" y="239"/>
                        <a:pt x="509" y="239"/>
                        <a:pt x="509" y="239"/>
                      </a:cubicBezTo>
                      <a:cubicBezTo>
                        <a:pt x="459" y="290"/>
                        <a:pt x="377" y="290"/>
                        <a:pt x="327" y="239"/>
                      </a:cubicBezTo>
                      <a:cubicBezTo>
                        <a:pt x="309" y="222"/>
                        <a:pt x="309" y="222"/>
                        <a:pt x="309" y="222"/>
                      </a:cubicBezTo>
                      <a:cubicBezTo>
                        <a:pt x="305" y="217"/>
                        <a:pt x="298" y="217"/>
                        <a:pt x="293" y="221"/>
                      </a:cubicBezTo>
                      <a:cubicBezTo>
                        <a:pt x="262" y="249"/>
                        <a:pt x="262" y="249"/>
                        <a:pt x="262" y="249"/>
                      </a:cubicBezTo>
                      <a:cubicBezTo>
                        <a:pt x="228" y="279"/>
                        <a:pt x="179" y="280"/>
                        <a:pt x="143" y="253"/>
                      </a:cubicBezTo>
                      <a:cubicBezTo>
                        <a:pt x="300" y="106"/>
                        <a:pt x="300" y="106"/>
                        <a:pt x="300" y="106"/>
                      </a:cubicBezTo>
                      <a:cubicBezTo>
                        <a:pt x="311" y="95"/>
                        <a:pt x="325" y="90"/>
                        <a:pt x="340" y="90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88" y="90"/>
                        <a:pt x="497" y="86"/>
                        <a:pt x="503" y="79"/>
                      </a:cubicBezTo>
                      <a:cubicBezTo>
                        <a:pt x="566" y="16"/>
                        <a:pt x="566" y="16"/>
                        <a:pt x="566" y="16"/>
                      </a:cubicBezTo>
                      <a:cubicBezTo>
                        <a:pt x="550" y="0"/>
                        <a:pt x="550" y="0"/>
                        <a:pt x="550" y="0"/>
                      </a:cubicBezTo>
                      <a:cubicBezTo>
                        <a:pt x="487" y="63"/>
                        <a:pt x="487" y="63"/>
                        <a:pt x="487" y="63"/>
                      </a:cubicBezTo>
                      <a:cubicBezTo>
                        <a:pt x="484" y="65"/>
                        <a:pt x="481" y="66"/>
                        <a:pt x="478" y="66"/>
                      </a:cubicBezTo>
                      <a:cubicBezTo>
                        <a:pt x="340" y="66"/>
                        <a:pt x="340" y="66"/>
                        <a:pt x="340" y="66"/>
                      </a:cubicBezTo>
                      <a:cubicBezTo>
                        <a:pt x="320" y="66"/>
                        <a:pt x="299" y="74"/>
                        <a:pt x="284" y="88"/>
                      </a:cubicBezTo>
                      <a:cubicBezTo>
                        <a:pt x="118" y="245"/>
                        <a:pt x="118" y="245"/>
                        <a:pt x="118" y="245"/>
                      </a:cubicBezTo>
                      <a:cubicBezTo>
                        <a:pt x="113" y="249"/>
                        <a:pt x="113" y="257"/>
                        <a:pt x="117" y="261"/>
                      </a:cubicBezTo>
                      <a:cubicBezTo>
                        <a:pt x="117" y="261"/>
                        <a:pt x="117" y="262"/>
                        <a:pt x="117" y="262"/>
                      </a:cubicBezTo>
                      <a:cubicBezTo>
                        <a:pt x="161" y="305"/>
                        <a:pt x="231" y="307"/>
                        <a:pt x="278" y="266"/>
                      </a:cubicBezTo>
                      <a:cubicBezTo>
                        <a:pt x="300" y="246"/>
                        <a:pt x="300" y="246"/>
                        <a:pt x="300" y="246"/>
                      </a:cubicBezTo>
                      <a:cubicBezTo>
                        <a:pt x="310" y="256"/>
                        <a:pt x="310" y="256"/>
                        <a:pt x="310" y="256"/>
                      </a:cubicBezTo>
                      <a:cubicBezTo>
                        <a:pt x="355" y="301"/>
                        <a:pt x="423" y="313"/>
                        <a:pt x="481" y="286"/>
                      </a:cubicBezTo>
                      <a:cubicBezTo>
                        <a:pt x="602" y="408"/>
                        <a:pt x="602" y="408"/>
                        <a:pt x="602" y="408"/>
                      </a:cubicBezTo>
                      <a:cubicBezTo>
                        <a:pt x="614" y="420"/>
                        <a:pt x="614" y="438"/>
                        <a:pt x="602" y="450"/>
                      </a:cubicBezTo>
                      <a:cubicBezTo>
                        <a:pt x="590" y="461"/>
                        <a:pt x="572" y="461"/>
                        <a:pt x="561" y="450"/>
                      </a:cubicBezTo>
                      <a:cubicBezTo>
                        <a:pt x="531" y="421"/>
                        <a:pt x="531" y="421"/>
                        <a:pt x="531" y="421"/>
                      </a:cubicBezTo>
                      <a:cubicBezTo>
                        <a:pt x="515" y="437"/>
                        <a:pt x="515" y="437"/>
                        <a:pt x="515" y="437"/>
                      </a:cubicBezTo>
                      <a:cubicBezTo>
                        <a:pt x="544" y="466"/>
                        <a:pt x="544" y="466"/>
                        <a:pt x="544" y="466"/>
                      </a:cubicBezTo>
                      <a:cubicBezTo>
                        <a:pt x="556" y="478"/>
                        <a:pt x="556" y="497"/>
                        <a:pt x="544" y="508"/>
                      </a:cubicBezTo>
                      <a:cubicBezTo>
                        <a:pt x="532" y="519"/>
                        <a:pt x="514" y="519"/>
                        <a:pt x="502" y="508"/>
                      </a:cubicBezTo>
                      <a:cubicBezTo>
                        <a:pt x="473" y="479"/>
                        <a:pt x="473" y="479"/>
                        <a:pt x="473" y="479"/>
                      </a:cubicBezTo>
                      <a:cubicBezTo>
                        <a:pt x="456" y="496"/>
                        <a:pt x="456" y="496"/>
                        <a:pt x="456" y="496"/>
                      </a:cubicBezTo>
                      <a:cubicBezTo>
                        <a:pt x="486" y="525"/>
                        <a:pt x="486" y="525"/>
                        <a:pt x="486" y="525"/>
                      </a:cubicBezTo>
                      <a:cubicBezTo>
                        <a:pt x="497" y="536"/>
                        <a:pt x="497" y="555"/>
                        <a:pt x="486" y="567"/>
                      </a:cubicBezTo>
                      <a:cubicBezTo>
                        <a:pt x="474" y="578"/>
                        <a:pt x="455" y="578"/>
                        <a:pt x="444" y="567"/>
                      </a:cubicBezTo>
                      <a:cubicBezTo>
                        <a:pt x="414" y="537"/>
                        <a:pt x="414" y="537"/>
                        <a:pt x="414" y="537"/>
                      </a:cubicBezTo>
                      <a:cubicBezTo>
                        <a:pt x="398" y="554"/>
                        <a:pt x="398" y="554"/>
                        <a:pt x="398" y="554"/>
                      </a:cubicBezTo>
                      <a:cubicBezTo>
                        <a:pt x="427" y="583"/>
                        <a:pt x="427" y="583"/>
                        <a:pt x="427" y="583"/>
                      </a:cubicBezTo>
                      <a:cubicBezTo>
                        <a:pt x="439" y="595"/>
                        <a:pt x="439" y="614"/>
                        <a:pt x="427" y="625"/>
                      </a:cubicBezTo>
                      <a:cubicBezTo>
                        <a:pt x="415" y="636"/>
                        <a:pt x="397" y="636"/>
                        <a:pt x="385" y="625"/>
                      </a:cubicBezTo>
                      <a:cubicBezTo>
                        <a:pt x="364" y="604"/>
                        <a:pt x="364" y="604"/>
                        <a:pt x="364" y="604"/>
                      </a:cubicBezTo>
                      <a:cubicBezTo>
                        <a:pt x="383" y="582"/>
                        <a:pt x="381" y="549"/>
                        <a:pt x="360" y="530"/>
                      </a:cubicBezTo>
                      <a:cubicBezTo>
                        <a:pt x="348" y="520"/>
                        <a:pt x="333" y="515"/>
                        <a:pt x="318" y="517"/>
                      </a:cubicBezTo>
                      <a:cubicBezTo>
                        <a:pt x="322" y="488"/>
                        <a:pt x="301" y="462"/>
                        <a:pt x="273" y="458"/>
                      </a:cubicBezTo>
                      <a:cubicBezTo>
                        <a:pt x="268" y="458"/>
                        <a:pt x="264" y="458"/>
                        <a:pt x="260" y="458"/>
                      </a:cubicBezTo>
                      <a:cubicBezTo>
                        <a:pt x="263" y="429"/>
                        <a:pt x="243" y="403"/>
                        <a:pt x="214" y="400"/>
                      </a:cubicBezTo>
                      <a:cubicBezTo>
                        <a:pt x="210" y="399"/>
                        <a:pt x="206" y="399"/>
                        <a:pt x="201" y="400"/>
                      </a:cubicBezTo>
                      <a:cubicBezTo>
                        <a:pt x="205" y="371"/>
                        <a:pt x="184" y="345"/>
                        <a:pt x="156" y="341"/>
                      </a:cubicBezTo>
                      <a:cubicBezTo>
                        <a:pt x="141" y="339"/>
                        <a:pt x="125" y="344"/>
                        <a:pt x="114" y="354"/>
                      </a:cubicBezTo>
                      <a:cubicBezTo>
                        <a:pt x="17" y="257"/>
                        <a:pt x="17" y="257"/>
                        <a:pt x="17" y="257"/>
                      </a:cubicBezTo>
                      <a:cubicBezTo>
                        <a:pt x="0" y="273"/>
                        <a:pt x="0" y="273"/>
                        <a:pt x="0" y="273"/>
                      </a:cubicBezTo>
                      <a:cubicBezTo>
                        <a:pt x="97" y="370"/>
                        <a:pt x="97" y="370"/>
                        <a:pt x="97" y="370"/>
                      </a:cubicBezTo>
                      <a:cubicBezTo>
                        <a:pt x="76" y="391"/>
                        <a:pt x="76" y="391"/>
                        <a:pt x="76" y="391"/>
                      </a:cubicBezTo>
                      <a:cubicBezTo>
                        <a:pt x="56" y="412"/>
                        <a:pt x="56" y="446"/>
                        <a:pt x="76" y="466"/>
                      </a:cubicBezTo>
                      <a:cubicBezTo>
                        <a:pt x="86" y="476"/>
                        <a:pt x="100" y="482"/>
                        <a:pt x="114" y="482"/>
                      </a:cubicBezTo>
                      <a:cubicBezTo>
                        <a:pt x="116" y="482"/>
                        <a:pt x="118" y="482"/>
                        <a:pt x="120" y="481"/>
                      </a:cubicBezTo>
                      <a:cubicBezTo>
                        <a:pt x="116" y="510"/>
                        <a:pt x="137" y="536"/>
                        <a:pt x="166" y="540"/>
                      </a:cubicBezTo>
                      <a:cubicBezTo>
                        <a:pt x="168" y="540"/>
                        <a:pt x="170" y="540"/>
                        <a:pt x="172" y="540"/>
                      </a:cubicBezTo>
                      <a:cubicBezTo>
                        <a:pt x="174" y="540"/>
                        <a:pt x="176" y="540"/>
                        <a:pt x="178" y="540"/>
                      </a:cubicBezTo>
                      <a:cubicBezTo>
                        <a:pt x="175" y="568"/>
                        <a:pt x="195" y="595"/>
                        <a:pt x="224" y="598"/>
                      </a:cubicBezTo>
                      <a:cubicBezTo>
                        <a:pt x="226" y="599"/>
                        <a:pt x="229" y="599"/>
                        <a:pt x="231" y="599"/>
                      </a:cubicBezTo>
                      <a:cubicBezTo>
                        <a:pt x="233" y="599"/>
                        <a:pt x="235" y="598"/>
                        <a:pt x="237" y="598"/>
                      </a:cubicBezTo>
                      <a:cubicBezTo>
                        <a:pt x="233" y="627"/>
                        <a:pt x="254" y="653"/>
                        <a:pt x="283" y="657"/>
                      </a:cubicBezTo>
                      <a:cubicBezTo>
                        <a:pt x="299" y="659"/>
                        <a:pt x="315" y="653"/>
                        <a:pt x="327" y="642"/>
                      </a:cubicBezTo>
                      <a:cubicBezTo>
                        <a:pt x="348" y="621"/>
                        <a:pt x="348" y="621"/>
                        <a:pt x="348" y="621"/>
                      </a:cubicBezTo>
                      <a:cubicBezTo>
                        <a:pt x="369" y="642"/>
                        <a:pt x="369" y="642"/>
                        <a:pt x="369" y="642"/>
                      </a:cubicBezTo>
                      <a:cubicBezTo>
                        <a:pt x="389" y="662"/>
                        <a:pt x="423" y="662"/>
                        <a:pt x="444" y="642"/>
                      </a:cubicBezTo>
                      <a:cubicBezTo>
                        <a:pt x="455" y="630"/>
                        <a:pt x="461" y="614"/>
                        <a:pt x="459" y="598"/>
                      </a:cubicBezTo>
                      <a:cubicBezTo>
                        <a:pt x="488" y="602"/>
                        <a:pt x="514" y="581"/>
                        <a:pt x="517" y="552"/>
                      </a:cubicBezTo>
                      <a:cubicBezTo>
                        <a:pt x="518" y="548"/>
                        <a:pt x="518" y="544"/>
                        <a:pt x="517" y="540"/>
                      </a:cubicBezTo>
                      <a:cubicBezTo>
                        <a:pt x="546" y="543"/>
                        <a:pt x="573" y="522"/>
                        <a:pt x="576" y="493"/>
                      </a:cubicBezTo>
                      <a:cubicBezTo>
                        <a:pt x="576" y="489"/>
                        <a:pt x="576" y="485"/>
                        <a:pt x="576" y="481"/>
                      </a:cubicBezTo>
                      <a:cubicBezTo>
                        <a:pt x="605" y="485"/>
                        <a:pt x="631" y="464"/>
                        <a:pt x="634" y="435"/>
                      </a:cubicBezTo>
                      <a:cubicBezTo>
                        <a:pt x="636" y="419"/>
                        <a:pt x="630" y="403"/>
                        <a:pt x="619" y="391"/>
                      </a:cubicBezTo>
                      <a:close/>
                      <a:moveTo>
                        <a:pt x="135" y="450"/>
                      </a:moveTo>
                      <a:cubicBezTo>
                        <a:pt x="123" y="461"/>
                        <a:pt x="104" y="461"/>
                        <a:pt x="93" y="450"/>
                      </a:cubicBezTo>
                      <a:cubicBezTo>
                        <a:pt x="81" y="438"/>
                        <a:pt x="81" y="419"/>
                        <a:pt x="93" y="408"/>
                      </a:cubicBezTo>
                      <a:cubicBezTo>
                        <a:pt x="128" y="373"/>
                        <a:pt x="128" y="373"/>
                        <a:pt x="128" y="373"/>
                      </a:cubicBezTo>
                      <a:cubicBezTo>
                        <a:pt x="140" y="361"/>
                        <a:pt x="158" y="362"/>
                        <a:pt x="170" y="373"/>
                      </a:cubicBezTo>
                      <a:cubicBezTo>
                        <a:pt x="181" y="385"/>
                        <a:pt x="181" y="403"/>
                        <a:pt x="170" y="415"/>
                      </a:cubicBezTo>
                      <a:lnTo>
                        <a:pt x="135" y="450"/>
                      </a:lnTo>
                      <a:close/>
                      <a:moveTo>
                        <a:pt x="193" y="508"/>
                      </a:moveTo>
                      <a:cubicBezTo>
                        <a:pt x="182" y="520"/>
                        <a:pt x="163" y="520"/>
                        <a:pt x="151" y="508"/>
                      </a:cubicBezTo>
                      <a:cubicBezTo>
                        <a:pt x="140" y="497"/>
                        <a:pt x="140" y="478"/>
                        <a:pt x="151" y="466"/>
                      </a:cubicBezTo>
                      <a:cubicBezTo>
                        <a:pt x="186" y="431"/>
                        <a:pt x="186" y="431"/>
                        <a:pt x="186" y="431"/>
                      </a:cubicBezTo>
                      <a:cubicBezTo>
                        <a:pt x="198" y="420"/>
                        <a:pt x="217" y="420"/>
                        <a:pt x="228" y="432"/>
                      </a:cubicBezTo>
                      <a:cubicBezTo>
                        <a:pt x="239" y="443"/>
                        <a:pt x="239" y="462"/>
                        <a:pt x="228" y="473"/>
                      </a:cubicBezTo>
                      <a:lnTo>
                        <a:pt x="193" y="508"/>
                      </a:lnTo>
                      <a:close/>
                      <a:moveTo>
                        <a:pt x="210" y="567"/>
                      </a:moveTo>
                      <a:cubicBezTo>
                        <a:pt x="198" y="555"/>
                        <a:pt x="198" y="536"/>
                        <a:pt x="210" y="525"/>
                      </a:cubicBezTo>
                      <a:cubicBezTo>
                        <a:pt x="245" y="490"/>
                        <a:pt x="245" y="490"/>
                        <a:pt x="245" y="490"/>
                      </a:cubicBezTo>
                      <a:cubicBezTo>
                        <a:pt x="257" y="478"/>
                        <a:pt x="275" y="479"/>
                        <a:pt x="287" y="490"/>
                      </a:cubicBezTo>
                      <a:cubicBezTo>
                        <a:pt x="298" y="502"/>
                        <a:pt x="298" y="520"/>
                        <a:pt x="287" y="532"/>
                      </a:cubicBezTo>
                      <a:cubicBezTo>
                        <a:pt x="252" y="567"/>
                        <a:pt x="252" y="567"/>
                        <a:pt x="252" y="567"/>
                      </a:cubicBezTo>
                      <a:cubicBezTo>
                        <a:pt x="240" y="578"/>
                        <a:pt x="221" y="578"/>
                        <a:pt x="210" y="567"/>
                      </a:cubicBezTo>
                      <a:close/>
                      <a:moveTo>
                        <a:pt x="345" y="590"/>
                      </a:moveTo>
                      <a:cubicBezTo>
                        <a:pt x="310" y="625"/>
                        <a:pt x="310" y="625"/>
                        <a:pt x="310" y="625"/>
                      </a:cubicBezTo>
                      <a:cubicBezTo>
                        <a:pt x="298" y="637"/>
                        <a:pt x="280" y="636"/>
                        <a:pt x="268" y="624"/>
                      </a:cubicBezTo>
                      <a:cubicBezTo>
                        <a:pt x="257" y="613"/>
                        <a:pt x="257" y="595"/>
                        <a:pt x="268" y="583"/>
                      </a:cubicBezTo>
                      <a:cubicBezTo>
                        <a:pt x="303" y="548"/>
                        <a:pt x="303" y="548"/>
                        <a:pt x="303" y="548"/>
                      </a:cubicBezTo>
                      <a:cubicBezTo>
                        <a:pt x="315" y="537"/>
                        <a:pt x="334" y="537"/>
                        <a:pt x="345" y="549"/>
                      </a:cubicBezTo>
                      <a:cubicBezTo>
                        <a:pt x="356" y="560"/>
                        <a:pt x="356" y="579"/>
                        <a:pt x="345" y="5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Freeform 27">
                  <a:extLst>
                    <a:ext uri="{FF2B5EF4-FFF2-40B4-BE49-F238E27FC236}">
                      <a16:creationId xmlns:a16="http://schemas.microsoft.com/office/drawing/2014/main" id="{FB082958-FE3B-4CF4-88D4-30DEB4EE70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" y="2"/>
                  <a:ext cx="256" cy="185"/>
                </a:xfrm>
                <a:custGeom>
                  <a:avLst/>
                  <a:gdLst>
                    <a:gd name="T0" fmla="*/ 88 w 125"/>
                    <a:gd name="T1" fmla="*/ 66 h 90"/>
                    <a:gd name="T2" fmla="*/ 80 w 125"/>
                    <a:gd name="T3" fmla="*/ 63 h 90"/>
                    <a:gd name="T4" fmla="*/ 16 w 125"/>
                    <a:gd name="T5" fmla="*/ 0 h 90"/>
                    <a:gd name="T6" fmla="*/ 0 w 125"/>
                    <a:gd name="T7" fmla="*/ 16 h 90"/>
                    <a:gd name="T8" fmla="*/ 63 w 125"/>
                    <a:gd name="T9" fmla="*/ 79 h 90"/>
                    <a:gd name="T10" fmla="*/ 88 w 125"/>
                    <a:gd name="T11" fmla="*/ 90 h 90"/>
                    <a:gd name="T12" fmla="*/ 125 w 125"/>
                    <a:gd name="T13" fmla="*/ 90 h 90"/>
                    <a:gd name="T14" fmla="*/ 125 w 125"/>
                    <a:gd name="T15" fmla="*/ 66 h 90"/>
                    <a:gd name="T16" fmla="*/ 88 w 125"/>
                    <a:gd name="T17" fmla="*/ 66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5" h="90">
                      <a:moveTo>
                        <a:pt x="88" y="66"/>
                      </a:moveTo>
                      <a:cubicBezTo>
                        <a:pt x="85" y="66"/>
                        <a:pt x="82" y="65"/>
                        <a:pt x="80" y="63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63" y="79"/>
                        <a:pt x="63" y="79"/>
                        <a:pt x="63" y="79"/>
                      </a:cubicBezTo>
                      <a:cubicBezTo>
                        <a:pt x="70" y="86"/>
                        <a:pt x="79" y="90"/>
                        <a:pt x="88" y="90"/>
                      </a:cubicBezTo>
                      <a:cubicBezTo>
                        <a:pt x="125" y="90"/>
                        <a:pt x="125" y="90"/>
                        <a:pt x="125" y="90"/>
                      </a:cubicBezTo>
                      <a:cubicBezTo>
                        <a:pt x="125" y="66"/>
                        <a:pt x="125" y="66"/>
                        <a:pt x="125" y="66"/>
                      </a:cubicBezTo>
                      <a:lnTo>
                        <a:pt x="88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5" name="Freeform 422">
                <a:extLst>
                  <a:ext uri="{FF2B5EF4-FFF2-40B4-BE49-F238E27FC236}">
                    <a16:creationId xmlns:a16="http://schemas.microsoft.com/office/drawing/2014/main" id="{E0BC8C57-8E7A-450D-A4D5-FA4513AAECB0}"/>
                  </a:ext>
                </a:extLst>
              </p:cNvPr>
              <p:cNvSpPr/>
              <p:nvPr/>
            </p:nvSpPr>
            <p:spPr>
              <a:xfrm>
                <a:off x="11214315" y="3009898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F8CB8D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40DBFC4-183B-44C5-8C5E-F43FD5B3EE82}"/>
                </a:ext>
              </a:extLst>
            </p:cNvPr>
            <p:cNvSpPr txBox="1"/>
            <p:nvPr/>
          </p:nvSpPr>
          <p:spPr>
            <a:xfrm>
              <a:off x="11207187" y="3115749"/>
              <a:ext cx="5084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SK Bioscienc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366BB2D-19A0-4AE8-9331-E1A462F9A686}"/>
              </a:ext>
            </a:extLst>
          </p:cNvPr>
          <p:cNvGrpSpPr/>
          <p:nvPr/>
        </p:nvGrpSpPr>
        <p:grpSpPr>
          <a:xfrm>
            <a:off x="6526984" y="1465766"/>
            <a:ext cx="621900" cy="665649"/>
            <a:chOff x="10863932" y="941706"/>
            <a:chExt cx="621900" cy="66564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9733D14-6A51-4642-932C-6710305EB8A8}"/>
                </a:ext>
              </a:extLst>
            </p:cNvPr>
            <p:cNvGrpSpPr/>
            <p:nvPr/>
          </p:nvGrpSpPr>
          <p:grpSpPr>
            <a:xfrm>
              <a:off x="10863932" y="941706"/>
              <a:ext cx="600198" cy="627112"/>
              <a:chOff x="10863932" y="941706"/>
              <a:chExt cx="600198" cy="62711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20AB98-6D99-496C-9A49-6C26AC5C4F18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EF120DA0-9DA8-4DD9-BA6A-8757C43A68E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04E034E1-4325-4E6F-910B-3DB4FD355D2A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6" name="Group 24">
                  <a:extLst>
                    <a:ext uri="{FF2B5EF4-FFF2-40B4-BE49-F238E27FC236}">
                      <a16:creationId xmlns:a16="http://schemas.microsoft.com/office/drawing/2014/main" id="{11E869B5-8F9B-4B9A-84A2-AF56F1FC2CD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57" name="Freeform 25">
                    <a:extLst>
                      <a:ext uri="{FF2B5EF4-FFF2-40B4-BE49-F238E27FC236}">
                        <a16:creationId xmlns:a16="http://schemas.microsoft.com/office/drawing/2014/main" id="{D0A6AAC5-0D57-491B-A835-5D58D9EFD21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8" name="Freeform 26">
                    <a:extLst>
                      <a:ext uri="{FF2B5EF4-FFF2-40B4-BE49-F238E27FC236}">
                        <a16:creationId xmlns:a16="http://schemas.microsoft.com/office/drawing/2014/main" id="{8188B0F4-592B-4F4E-BB70-939E36534D7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9" name="Freeform 27">
                    <a:extLst>
                      <a:ext uri="{FF2B5EF4-FFF2-40B4-BE49-F238E27FC236}">
                        <a16:creationId xmlns:a16="http://schemas.microsoft.com/office/drawing/2014/main" id="{75E40A3E-70E9-44B5-AFFC-330EA49EF4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53" name="Freeform 457">
                <a:extLst>
                  <a:ext uri="{FF2B5EF4-FFF2-40B4-BE49-F238E27FC236}">
                    <a16:creationId xmlns:a16="http://schemas.microsoft.com/office/drawing/2014/main" id="{B0D86094-435A-4EBF-897A-09DC45B757E6}"/>
                  </a:ext>
                </a:extLst>
              </p:cNvPr>
              <p:cNvSpPr/>
              <p:nvPr/>
            </p:nvSpPr>
            <p:spPr>
              <a:xfrm>
                <a:off x="10863932" y="1337970"/>
                <a:ext cx="600198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D750D74-713A-4AA4-8E99-368EAA09BAA6}"/>
                </a:ext>
              </a:extLst>
            </p:cNvPr>
            <p:cNvSpPr txBox="1"/>
            <p:nvPr/>
          </p:nvSpPr>
          <p:spPr>
            <a:xfrm>
              <a:off x="10869063" y="1453467"/>
              <a:ext cx="61676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EU Commission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F0C1249-A8F2-48D9-900E-E1FAD6074A31}"/>
              </a:ext>
            </a:extLst>
          </p:cNvPr>
          <p:cNvGrpSpPr/>
          <p:nvPr/>
        </p:nvGrpSpPr>
        <p:grpSpPr>
          <a:xfrm>
            <a:off x="5962081" y="1821566"/>
            <a:ext cx="624954" cy="646599"/>
            <a:chOff x="10863932" y="941706"/>
            <a:chExt cx="624954" cy="646599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86A40099-6B60-4AAE-A41A-460942ADC8B4}"/>
                </a:ext>
              </a:extLst>
            </p:cNvPr>
            <p:cNvGrpSpPr/>
            <p:nvPr/>
          </p:nvGrpSpPr>
          <p:grpSpPr>
            <a:xfrm>
              <a:off x="10863932" y="941706"/>
              <a:ext cx="600198" cy="627112"/>
              <a:chOff x="10863932" y="941706"/>
              <a:chExt cx="600198" cy="627112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D01F30B5-0E64-4914-B5F3-ECF4533ECE1A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8B91FDD2-B003-46E1-8A3F-42121937719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D87A1996-6932-4625-8469-9169AB02F44D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7" name="Group 24">
                  <a:extLst>
                    <a:ext uri="{FF2B5EF4-FFF2-40B4-BE49-F238E27FC236}">
                      <a16:creationId xmlns:a16="http://schemas.microsoft.com/office/drawing/2014/main" id="{CF1F25E8-BFA8-4F91-A9A3-5109821FB03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68" name="Freeform 25">
                    <a:extLst>
                      <a:ext uri="{FF2B5EF4-FFF2-40B4-BE49-F238E27FC236}">
                        <a16:creationId xmlns:a16="http://schemas.microsoft.com/office/drawing/2014/main" id="{5C7ECA9A-6F5A-4AE3-89E4-89D654CF40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9" name="Freeform 26">
                    <a:extLst>
                      <a:ext uri="{FF2B5EF4-FFF2-40B4-BE49-F238E27FC236}">
                        <a16:creationId xmlns:a16="http://schemas.microsoft.com/office/drawing/2014/main" id="{B1F260AD-633E-4179-AD19-769742D4779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70" name="Freeform 27">
                    <a:extLst>
                      <a:ext uri="{FF2B5EF4-FFF2-40B4-BE49-F238E27FC236}">
                        <a16:creationId xmlns:a16="http://schemas.microsoft.com/office/drawing/2014/main" id="{17BBC6DC-2FDA-4964-988A-C1E504E15B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64" name="Freeform 490">
                <a:extLst>
                  <a:ext uri="{FF2B5EF4-FFF2-40B4-BE49-F238E27FC236}">
                    <a16:creationId xmlns:a16="http://schemas.microsoft.com/office/drawing/2014/main" id="{5CD921F0-725B-4B3F-8835-3B8B762B6735}"/>
                  </a:ext>
                </a:extLst>
              </p:cNvPr>
              <p:cNvSpPr/>
              <p:nvPr/>
            </p:nvSpPr>
            <p:spPr>
              <a:xfrm>
                <a:off x="10863932" y="1337970"/>
                <a:ext cx="600198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chemeClr val="tx2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2E56986-B5D2-42E0-8811-A427A24A8BB6}"/>
                </a:ext>
              </a:extLst>
            </p:cNvPr>
            <p:cNvSpPr txBox="1"/>
            <p:nvPr/>
          </p:nvSpPr>
          <p:spPr>
            <a:xfrm>
              <a:off x="10872117" y="1434417"/>
              <a:ext cx="61676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UK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56718DBD-9F27-472E-A6D6-4E5181BC8C76}"/>
              </a:ext>
            </a:extLst>
          </p:cNvPr>
          <p:cNvGrpSpPr/>
          <p:nvPr/>
        </p:nvGrpSpPr>
        <p:grpSpPr>
          <a:xfrm>
            <a:off x="4890847" y="4455225"/>
            <a:ext cx="616769" cy="646358"/>
            <a:chOff x="10859417" y="941706"/>
            <a:chExt cx="616769" cy="646358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1F8BAA4-EBFB-45F8-B58A-E58A50DFC55F}"/>
                </a:ext>
              </a:extLst>
            </p:cNvPr>
            <p:cNvGrpSpPr/>
            <p:nvPr/>
          </p:nvGrpSpPr>
          <p:grpSpPr>
            <a:xfrm>
              <a:off x="10863932" y="941706"/>
              <a:ext cx="600198" cy="627112"/>
              <a:chOff x="10863932" y="941706"/>
              <a:chExt cx="600198" cy="627112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BC332AE9-D341-4058-A672-1191A1C2CCFF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BB60A165-D2F3-49E4-98E1-B410679E2F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7E80C540-69F9-430A-8D67-85EACE493A1A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rgbClr val="F3A93E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8" name="Group 24">
                  <a:extLst>
                    <a:ext uri="{FF2B5EF4-FFF2-40B4-BE49-F238E27FC236}">
                      <a16:creationId xmlns:a16="http://schemas.microsoft.com/office/drawing/2014/main" id="{06971693-0DEC-4230-A393-38C02F66A87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79" name="Freeform 25">
                    <a:extLst>
                      <a:ext uri="{FF2B5EF4-FFF2-40B4-BE49-F238E27FC236}">
                        <a16:creationId xmlns:a16="http://schemas.microsoft.com/office/drawing/2014/main" id="{982B284F-49AF-413C-AAC8-5E30AD021C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80" name="Freeform 26">
                    <a:extLst>
                      <a:ext uri="{FF2B5EF4-FFF2-40B4-BE49-F238E27FC236}">
                        <a16:creationId xmlns:a16="http://schemas.microsoft.com/office/drawing/2014/main" id="{D12AB4F1-994F-44A7-8C49-9419C24AD31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81" name="Freeform 27">
                    <a:extLst>
                      <a:ext uri="{FF2B5EF4-FFF2-40B4-BE49-F238E27FC236}">
                        <a16:creationId xmlns:a16="http://schemas.microsoft.com/office/drawing/2014/main" id="{16A66F37-4E2F-41BE-9306-0DCAE7FBEE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75" name="Freeform 501">
                <a:extLst>
                  <a:ext uri="{FF2B5EF4-FFF2-40B4-BE49-F238E27FC236}">
                    <a16:creationId xmlns:a16="http://schemas.microsoft.com/office/drawing/2014/main" id="{DFB4E8CB-C19D-49CB-9102-C0C51A2813CD}"/>
                  </a:ext>
                </a:extLst>
              </p:cNvPr>
              <p:cNvSpPr/>
              <p:nvPr/>
            </p:nvSpPr>
            <p:spPr>
              <a:xfrm>
                <a:off x="10863932" y="1337970"/>
                <a:ext cx="600198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F3A93E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71A2BC3D-201C-4D37-8D57-CD8BF654853B}"/>
                </a:ext>
              </a:extLst>
            </p:cNvPr>
            <p:cNvSpPr txBox="1"/>
            <p:nvPr/>
          </p:nvSpPr>
          <p:spPr>
            <a:xfrm>
              <a:off x="10859417" y="1434176"/>
              <a:ext cx="61676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 err="1"/>
                <a:t>Fiocruz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8855F6F-3217-42DC-8C1E-25C8FF664D95}"/>
              </a:ext>
            </a:extLst>
          </p:cNvPr>
          <p:cNvGrpSpPr/>
          <p:nvPr/>
        </p:nvGrpSpPr>
        <p:grpSpPr>
          <a:xfrm>
            <a:off x="3055947" y="4005612"/>
            <a:ext cx="883787" cy="716021"/>
            <a:chOff x="10712639" y="941706"/>
            <a:chExt cx="883787" cy="716021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0DDD7BC6-CB51-4360-83D7-1BD944E96C66}"/>
                </a:ext>
              </a:extLst>
            </p:cNvPr>
            <p:cNvGrpSpPr/>
            <p:nvPr/>
          </p:nvGrpSpPr>
          <p:grpSpPr>
            <a:xfrm>
              <a:off x="10733622" y="941706"/>
              <a:ext cx="844052" cy="716021"/>
              <a:chOff x="10733622" y="941706"/>
              <a:chExt cx="844052" cy="716021"/>
            </a:xfrm>
          </p:grpSpPr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026823BF-5763-4176-AC20-2B1D7F137CEA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31848F6E-3066-4B41-BBF7-28C6D96B7CB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2DB307AE-882E-4B07-AD6D-CEB46A2B7F89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rgbClr val="B3D755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89" name="Group 24">
                  <a:extLst>
                    <a:ext uri="{FF2B5EF4-FFF2-40B4-BE49-F238E27FC236}">
                      <a16:creationId xmlns:a16="http://schemas.microsoft.com/office/drawing/2014/main" id="{D3343236-A9A3-4137-AD2B-C6CDA726B40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90" name="Freeform 25">
                    <a:extLst>
                      <a:ext uri="{FF2B5EF4-FFF2-40B4-BE49-F238E27FC236}">
                        <a16:creationId xmlns:a16="http://schemas.microsoft.com/office/drawing/2014/main" id="{FBA01D1E-5BD7-4B9E-B1A5-356C806E10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1" name="Freeform 26">
                    <a:extLst>
                      <a:ext uri="{FF2B5EF4-FFF2-40B4-BE49-F238E27FC236}">
                        <a16:creationId xmlns:a16="http://schemas.microsoft.com/office/drawing/2014/main" id="{BE263340-5943-40F6-A76B-016124DB89C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2" name="Freeform 27">
                    <a:extLst>
                      <a:ext uri="{FF2B5EF4-FFF2-40B4-BE49-F238E27FC236}">
                        <a16:creationId xmlns:a16="http://schemas.microsoft.com/office/drawing/2014/main" id="{55846A39-C927-44A3-AEDC-80F3DAE404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86" name="Freeform 512">
                <a:extLst>
                  <a:ext uri="{FF2B5EF4-FFF2-40B4-BE49-F238E27FC236}">
                    <a16:creationId xmlns:a16="http://schemas.microsoft.com/office/drawing/2014/main" id="{B152FCC3-215B-4E00-AE0E-672F4FB0DA8A}"/>
                  </a:ext>
                </a:extLst>
              </p:cNvPr>
              <p:cNvSpPr/>
              <p:nvPr/>
            </p:nvSpPr>
            <p:spPr>
              <a:xfrm>
                <a:off x="10733622" y="1337969"/>
                <a:ext cx="844052" cy="31975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B3D755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C035A56-1CB7-4E26-B9A6-3DA9229CCFBC}"/>
                </a:ext>
              </a:extLst>
            </p:cNvPr>
            <p:cNvSpPr txBox="1"/>
            <p:nvPr/>
          </p:nvSpPr>
          <p:spPr>
            <a:xfrm>
              <a:off x="10712639" y="1466947"/>
              <a:ext cx="88378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Carlos Slim </a:t>
              </a:r>
            </a:p>
            <a:p>
              <a:r>
                <a:rPr lang="en-US" dirty="0"/>
                <a:t>(</a:t>
              </a:r>
              <a:r>
                <a:rPr lang="en-US" dirty="0" err="1"/>
                <a:t>Liomont</a:t>
              </a:r>
              <a:r>
                <a:rPr lang="en-US" dirty="0"/>
                <a:t>/</a:t>
              </a:r>
              <a:r>
                <a:rPr lang="en-US" dirty="0" err="1"/>
                <a:t>Mabxience</a:t>
              </a:r>
              <a:r>
                <a:rPr lang="en-US" dirty="0"/>
                <a:t>)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3FDCF47-04ED-4376-8A64-40C85FE8239A}"/>
              </a:ext>
            </a:extLst>
          </p:cNvPr>
          <p:cNvGrpSpPr/>
          <p:nvPr/>
        </p:nvGrpSpPr>
        <p:grpSpPr>
          <a:xfrm>
            <a:off x="10239791" y="4802052"/>
            <a:ext cx="513496" cy="657457"/>
            <a:chOff x="11214315" y="2612180"/>
            <a:chExt cx="513496" cy="657457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27AE1573-8220-488F-A3BB-41FB0602E2B1}"/>
                </a:ext>
              </a:extLst>
            </p:cNvPr>
            <p:cNvGrpSpPr/>
            <p:nvPr/>
          </p:nvGrpSpPr>
          <p:grpSpPr>
            <a:xfrm>
              <a:off x="11214315" y="2612180"/>
              <a:ext cx="513496" cy="628566"/>
              <a:chOff x="11214315" y="2612180"/>
              <a:chExt cx="513496" cy="628566"/>
            </a:xfrm>
          </p:grpSpPr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BB55EE7B-CA91-405A-8DC3-F927E658E0F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274687" y="2612180"/>
                <a:ext cx="392753" cy="392753"/>
              </a:xfrm>
              <a:prstGeom prst="ellipse">
                <a:avLst/>
              </a:prstGeom>
              <a:solidFill>
                <a:schemeClr val="bg1">
                  <a:lumMod val="85000"/>
                  <a:alpha val="76000"/>
                </a:schemeClr>
              </a:solidFill>
              <a:ln w="381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CR" sz="2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2BBA3ED7-3CA2-4AD6-A390-989DCFB7FDE8}"/>
                  </a:ext>
                </a:extLst>
              </p:cNvPr>
              <p:cNvSpPr/>
              <p:nvPr/>
            </p:nvSpPr>
            <p:spPr>
              <a:xfrm>
                <a:off x="11320420" y="2657914"/>
                <a:ext cx="301287" cy="301287"/>
              </a:xfrm>
              <a:prstGeom prst="ellipse">
                <a:avLst/>
              </a:prstGeom>
              <a:solidFill>
                <a:srgbClr val="3B677F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bIns="0" rtlCol="0" anchor="b"/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CR" sz="400" b="1" spc="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9" name="Group 24">
                <a:extLst>
                  <a:ext uri="{FF2B5EF4-FFF2-40B4-BE49-F238E27FC236}">
                    <a16:creationId xmlns:a16="http://schemas.microsoft.com/office/drawing/2014/main" id="{A5DFEAC2-0A59-4391-AD6C-1B483226009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1368521" y="2710840"/>
                <a:ext cx="205084" cy="195436"/>
                <a:chOff x="3" y="2"/>
                <a:chExt cx="1424" cy="1357"/>
              </a:xfrm>
              <a:solidFill>
                <a:schemeClr val="bg1"/>
              </a:solidFill>
            </p:grpSpPr>
            <p:sp>
              <p:nvSpPr>
                <p:cNvPr id="111" name="Freeform 25">
                  <a:extLst>
                    <a:ext uri="{FF2B5EF4-FFF2-40B4-BE49-F238E27FC236}">
                      <a16:creationId xmlns:a16="http://schemas.microsoft.com/office/drawing/2014/main" id="{BB3C6C7B-1568-4AB0-B92A-96D47DA46C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" y="529"/>
                  <a:ext cx="201" cy="201"/>
                </a:xfrm>
                <a:custGeom>
                  <a:avLst/>
                  <a:gdLst>
                    <a:gd name="T0" fmla="*/ 0 w 201"/>
                    <a:gd name="T1" fmla="*/ 168 h 201"/>
                    <a:gd name="T2" fmla="*/ 166 w 201"/>
                    <a:gd name="T3" fmla="*/ 0 h 201"/>
                    <a:gd name="T4" fmla="*/ 201 w 201"/>
                    <a:gd name="T5" fmla="*/ 33 h 201"/>
                    <a:gd name="T6" fmla="*/ 33 w 201"/>
                    <a:gd name="T7" fmla="*/ 201 h 201"/>
                    <a:gd name="T8" fmla="*/ 0 w 201"/>
                    <a:gd name="T9" fmla="*/ 168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1" h="201">
                      <a:moveTo>
                        <a:pt x="0" y="168"/>
                      </a:moveTo>
                      <a:lnTo>
                        <a:pt x="166" y="0"/>
                      </a:lnTo>
                      <a:lnTo>
                        <a:pt x="201" y="33"/>
                      </a:lnTo>
                      <a:lnTo>
                        <a:pt x="33" y="201"/>
                      </a:lnTo>
                      <a:lnTo>
                        <a:pt x="0" y="1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" name="Freeform 26">
                  <a:extLst>
                    <a:ext uri="{FF2B5EF4-FFF2-40B4-BE49-F238E27FC236}">
                      <a16:creationId xmlns:a16="http://schemas.microsoft.com/office/drawing/2014/main" id="{E5A8ED8F-57AA-4065-95A4-B7B3D31240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" y="2"/>
                  <a:ext cx="1303" cy="1357"/>
                </a:xfrm>
                <a:custGeom>
                  <a:avLst/>
                  <a:gdLst>
                    <a:gd name="T0" fmla="*/ 502 w 636"/>
                    <a:gd name="T1" fmla="*/ 275 h 662"/>
                    <a:gd name="T2" fmla="*/ 566 w 636"/>
                    <a:gd name="T3" fmla="*/ 215 h 662"/>
                    <a:gd name="T4" fmla="*/ 509 w 636"/>
                    <a:gd name="T5" fmla="*/ 239 h 662"/>
                    <a:gd name="T6" fmla="*/ 309 w 636"/>
                    <a:gd name="T7" fmla="*/ 222 h 662"/>
                    <a:gd name="T8" fmla="*/ 262 w 636"/>
                    <a:gd name="T9" fmla="*/ 249 h 662"/>
                    <a:gd name="T10" fmla="*/ 300 w 636"/>
                    <a:gd name="T11" fmla="*/ 106 h 662"/>
                    <a:gd name="T12" fmla="*/ 478 w 636"/>
                    <a:gd name="T13" fmla="*/ 90 h 662"/>
                    <a:gd name="T14" fmla="*/ 566 w 636"/>
                    <a:gd name="T15" fmla="*/ 16 h 662"/>
                    <a:gd name="T16" fmla="*/ 487 w 636"/>
                    <a:gd name="T17" fmla="*/ 63 h 662"/>
                    <a:gd name="T18" fmla="*/ 340 w 636"/>
                    <a:gd name="T19" fmla="*/ 66 h 662"/>
                    <a:gd name="T20" fmla="*/ 118 w 636"/>
                    <a:gd name="T21" fmla="*/ 245 h 662"/>
                    <a:gd name="T22" fmla="*/ 117 w 636"/>
                    <a:gd name="T23" fmla="*/ 262 h 662"/>
                    <a:gd name="T24" fmla="*/ 300 w 636"/>
                    <a:gd name="T25" fmla="*/ 246 h 662"/>
                    <a:gd name="T26" fmla="*/ 481 w 636"/>
                    <a:gd name="T27" fmla="*/ 286 h 662"/>
                    <a:gd name="T28" fmla="*/ 602 w 636"/>
                    <a:gd name="T29" fmla="*/ 450 h 662"/>
                    <a:gd name="T30" fmla="*/ 531 w 636"/>
                    <a:gd name="T31" fmla="*/ 421 h 662"/>
                    <a:gd name="T32" fmla="*/ 544 w 636"/>
                    <a:gd name="T33" fmla="*/ 466 h 662"/>
                    <a:gd name="T34" fmla="*/ 502 w 636"/>
                    <a:gd name="T35" fmla="*/ 508 h 662"/>
                    <a:gd name="T36" fmla="*/ 456 w 636"/>
                    <a:gd name="T37" fmla="*/ 496 h 662"/>
                    <a:gd name="T38" fmla="*/ 486 w 636"/>
                    <a:gd name="T39" fmla="*/ 567 h 662"/>
                    <a:gd name="T40" fmla="*/ 414 w 636"/>
                    <a:gd name="T41" fmla="*/ 537 h 662"/>
                    <a:gd name="T42" fmla="*/ 427 w 636"/>
                    <a:gd name="T43" fmla="*/ 583 h 662"/>
                    <a:gd name="T44" fmla="*/ 385 w 636"/>
                    <a:gd name="T45" fmla="*/ 625 h 662"/>
                    <a:gd name="T46" fmla="*/ 360 w 636"/>
                    <a:gd name="T47" fmla="*/ 530 h 662"/>
                    <a:gd name="T48" fmla="*/ 273 w 636"/>
                    <a:gd name="T49" fmla="*/ 458 h 662"/>
                    <a:gd name="T50" fmla="*/ 214 w 636"/>
                    <a:gd name="T51" fmla="*/ 400 h 662"/>
                    <a:gd name="T52" fmla="*/ 156 w 636"/>
                    <a:gd name="T53" fmla="*/ 341 h 662"/>
                    <a:gd name="T54" fmla="*/ 17 w 636"/>
                    <a:gd name="T55" fmla="*/ 257 h 662"/>
                    <a:gd name="T56" fmla="*/ 97 w 636"/>
                    <a:gd name="T57" fmla="*/ 370 h 662"/>
                    <a:gd name="T58" fmla="*/ 76 w 636"/>
                    <a:gd name="T59" fmla="*/ 466 h 662"/>
                    <a:gd name="T60" fmla="*/ 120 w 636"/>
                    <a:gd name="T61" fmla="*/ 481 h 662"/>
                    <a:gd name="T62" fmla="*/ 172 w 636"/>
                    <a:gd name="T63" fmla="*/ 540 h 662"/>
                    <a:gd name="T64" fmla="*/ 224 w 636"/>
                    <a:gd name="T65" fmla="*/ 598 h 662"/>
                    <a:gd name="T66" fmla="*/ 237 w 636"/>
                    <a:gd name="T67" fmla="*/ 598 h 662"/>
                    <a:gd name="T68" fmla="*/ 327 w 636"/>
                    <a:gd name="T69" fmla="*/ 642 h 662"/>
                    <a:gd name="T70" fmla="*/ 369 w 636"/>
                    <a:gd name="T71" fmla="*/ 642 h 662"/>
                    <a:gd name="T72" fmla="*/ 459 w 636"/>
                    <a:gd name="T73" fmla="*/ 598 h 662"/>
                    <a:gd name="T74" fmla="*/ 517 w 636"/>
                    <a:gd name="T75" fmla="*/ 540 h 662"/>
                    <a:gd name="T76" fmla="*/ 576 w 636"/>
                    <a:gd name="T77" fmla="*/ 481 h 662"/>
                    <a:gd name="T78" fmla="*/ 619 w 636"/>
                    <a:gd name="T79" fmla="*/ 391 h 662"/>
                    <a:gd name="T80" fmla="*/ 93 w 636"/>
                    <a:gd name="T81" fmla="*/ 450 h 662"/>
                    <a:gd name="T82" fmla="*/ 128 w 636"/>
                    <a:gd name="T83" fmla="*/ 373 h 662"/>
                    <a:gd name="T84" fmla="*/ 170 w 636"/>
                    <a:gd name="T85" fmla="*/ 415 h 662"/>
                    <a:gd name="T86" fmla="*/ 193 w 636"/>
                    <a:gd name="T87" fmla="*/ 508 h 662"/>
                    <a:gd name="T88" fmla="*/ 151 w 636"/>
                    <a:gd name="T89" fmla="*/ 466 h 662"/>
                    <a:gd name="T90" fmla="*/ 228 w 636"/>
                    <a:gd name="T91" fmla="*/ 432 h 662"/>
                    <a:gd name="T92" fmla="*/ 193 w 636"/>
                    <a:gd name="T93" fmla="*/ 508 h 662"/>
                    <a:gd name="T94" fmla="*/ 210 w 636"/>
                    <a:gd name="T95" fmla="*/ 525 h 662"/>
                    <a:gd name="T96" fmla="*/ 287 w 636"/>
                    <a:gd name="T97" fmla="*/ 490 h 662"/>
                    <a:gd name="T98" fmla="*/ 252 w 636"/>
                    <a:gd name="T99" fmla="*/ 567 h 662"/>
                    <a:gd name="T100" fmla="*/ 345 w 636"/>
                    <a:gd name="T101" fmla="*/ 590 h 662"/>
                    <a:gd name="T102" fmla="*/ 268 w 636"/>
                    <a:gd name="T103" fmla="*/ 624 h 662"/>
                    <a:gd name="T104" fmla="*/ 303 w 636"/>
                    <a:gd name="T105" fmla="*/ 548 h 662"/>
                    <a:gd name="T106" fmla="*/ 345 w 636"/>
                    <a:gd name="T107" fmla="*/ 590 h 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6" h="662">
                      <a:moveTo>
                        <a:pt x="619" y="391"/>
                      </a:moveTo>
                      <a:cubicBezTo>
                        <a:pt x="502" y="275"/>
                        <a:pt x="502" y="275"/>
                        <a:pt x="502" y="275"/>
                      </a:cubicBezTo>
                      <a:cubicBezTo>
                        <a:pt x="511" y="269"/>
                        <a:pt x="518" y="263"/>
                        <a:pt x="525" y="256"/>
                      </a:cubicBezTo>
                      <a:cubicBezTo>
                        <a:pt x="566" y="215"/>
                        <a:pt x="566" y="215"/>
                        <a:pt x="566" y="215"/>
                      </a:cubicBezTo>
                      <a:cubicBezTo>
                        <a:pt x="550" y="198"/>
                        <a:pt x="550" y="198"/>
                        <a:pt x="550" y="198"/>
                      </a:cubicBezTo>
                      <a:cubicBezTo>
                        <a:pt x="509" y="239"/>
                        <a:pt x="509" y="239"/>
                        <a:pt x="509" y="239"/>
                      </a:cubicBezTo>
                      <a:cubicBezTo>
                        <a:pt x="459" y="290"/>
                        <a:pt x="377" y="290"/>
                        <a:pt x="327" y="239"/>
                      </a:cubicBezTo>
                      <a:cubicBezTo>
                        <a:pt x="309" y="222"/>
                        <a:pt x="309" y="222"/>
                        <a:pt x="309" y="222"/>
                      </a:cubicBezTo>
                      <a:cubicBezTo>
                        <a:pt x="305" y="217"/>
                        <a:pt x="298" y="217"/>
                        <a:pt x="293" y="221"/>
                      </a:cubicBezTo>
                      <a:cubicBezTo>
                        <a:pt x="262" y="249"/>
                        <a:pt x="262" y="249"/>
                        <a:pt x="262" y="249"/>
                      </a:cubicBezTo>
                      <a:cubicBezTo>
                        <a:pt x="228" y="279"/>
                        <a:pt x="179" y="280"/>
                        <a:pt x="143" y="253"/>
                      </a:cubicBezTo>
                      <a:cubicBezTo>
                        <a:pt x="300" y="106"/>
                        <a:pt x="300" y="106"/>
                        <a:pt x="300" y="106"/>
                      </a:cubicBezTo>
                      <a:cubicBezTo>
                        <a:pt x="311" y="95"/>
                        <a:pt x="325" y="90"/>
                        <a:pt x="340" y="90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88" y="90"/>
                        <a:pt x="497" y="86"/>
                        <a:pt x="503" y="79"/>
                      </a:cubicBezTo>
                      <a:cubicBezTo>
                        <a:pt x="566" y="16"/>
                        <a:pt x="566" y="16"/>
                        <a:pt x="566" y="16"/>
                      </a:cubicBezTo>
                      <a:cubicBezTo>
                        <a:pt x="550" y="0"/>
                        <a:pt x="550" y="0"/>
                        <a:pt x="550" y="0"/>
                      </a:cubicBezTo>
                      <a:cubicBezTo>
                        <a:pt x="487" y="63"/>
                        <a:pt x="487" y="63"/>
                        <a:pt x="487" y="63"/>
                      </a:cubicBezTo>
                      <a:cubicBezTo>
                        <a:pt x="484" y="65"/>
                        <a:pt x="481" y="66"/>
                        <a:pt x="478" y="66"/>
                      </a:cubicBezTo>
                      <a:cubicBezTo>
                        <a:pt x="340" y="66"/>
                        <a:pt x="340" y="66"/>
                        <a:pt x="340" y="66"/>
                      </a:cubicBezTo>
                      <a:cubicBezTo>
                        <a:pt x="320" y="66"/>
                        <a:pt x="299" y="74"/>
                        <a:pt x="284" y="88"/>
                      </a:cubicBezTo>
                      <a:cubicBezTo>
                        <a:pt x="118" y="245"/>
                        <a:pt x="118" y="245"/>
                        <a:pt x="118" y="245"/>
                      </a:cubicBezTo>
                      <a:cubicBezTo>
                        <a:pt x="113" y="249"/>
                        <a:pt x="113" y="257"/>
                        <a:pt x="117" y="261"/>
                      </a:cubicBezTo>
                      <a:cubicBezTo>
                        <a:pt x="117" y="261"/>
                        <a:pt x="117" y="262"/>
                        <a:pt x="117" y="262"/>
                      </a:cubicBezTo>
                      <a:cubicBezTo>
                        <a:pt x="161" y="305"/>
                        <a:pt x="231" y="307"/>
                        <a:pt x="278" y="266"/>
                      </a:cubicBezTo>
                      <a:cubicBezTo>
                        <a:pt x="300" y="246"/>
                        <a:pt x="300" y="246"/>
                        <a:pt x="300" y="246"/>
                      </a:cubicBezTo>
                      <a:cubicBezTo>
                        <a:pt x="310" y="256"/>
                        <a:pt x="310" y="256"/>
                        <a:pt x="310" y="256"/>
                      </a:cubicBezTo>
                      <a:cubicBezTo>
                        <a:pt x="355" y="301"/>
                        <a:pt x="423" y="313"/>
                        <a:pt x="481" y="286"/>
                      </a:cubicBezTo>
                      <a:cubicBezTo>
                        <a:pt x="602" y="408"/>
                        <a:pt x="602" y="408"/>
                        <a:pt x="602" y="408"/>
                      </a:cubicBezTo>
                      <a:cubicBezTo>
                        <a:pt x="614" y="420"/>
                        <a:pt x="614" y="438"/>
                        <a:pt x="602" y="450"/>
                      </a:cubicBezTo>
                      <a:cubicBezTo>
                        <a:pt x="590" y="461"/>
                        <a:pt x="572" y="461"/>
                        <a:pt x="561" y="450"/>
                      </a:cubicBezTo>
                      <a:cubicBezTo>
                        <a:pt x="531" y="421"/>
                        <a:pt x="531" y="421"/>
                        <a:pt x="531" y="421"/>
                      </a:cubicBezTo>
                      <a:cubicBezTo>
                        <a:pt x="515" y="437"/>
                        <a:pt x="515" y="437"/>
                        <a:pt x="515" y="437"/>
                      </a:cubicBezTo>
                      <a:cubicBezTo>
                        <a:pt x="544" y="466"/>
                        <a:pt x="544" y="466"/>
                        <a:pt x="544" y="466"/>
                      </a:cubicBezTo>
                      <a:cubicBezTo>
                        <a:pt x="556" y="478"/>
                        <a:pt x="556" y="497"/>
                        <a:pt x="544" y="508"/>
                      </a:cubicBezTo>
                      <a:cubicBezTo>
                        <a:pt x="532" y="519"/>
                        <a:pt x="514" y="519"/>
                        <a:pt x="502" y="508"/>
                      </a:cubicBezTo>
                      <a:cubicBezTo>
                        <a:pt x="473" y="479"/>
                        <a:pt x="473" y="479"/>
                        <a:pt x="473" y="479"/>
                      </a:cubicBezTo>
                      <a:cubicBezTo>
                        <a:pt x="456" y="496"/>
                        <a:pt x="456" y="496"/>
                        <a:pt x="456" y="496"/>
                      </a:cubicBezTo>
                      <a:cubicBezTo>
                        <a:pt x="486" y="525"/>
                        <a:pt x="486" y="525"/>
                        <a:pt x="486" y="525"/>
                      </a:cubicBezTo>
                      <a:cubicBezTo>
                        <a:pt x="497" y="536"/>
                        <a:pt x="497" y="555"/>
                        <a:pt x="486" y="567"/>
                      </a:cubicBezTo>
                      <a:cubicBezTo>
                        <a:pt x="474" y="578"/>
                        <a:pt x="455" y="578"/>
                        <a:pt x="444" y="567"/>
                      </a:cubicBezTo>
                      <a:cubicBezTo>
                        <a:pt x="414" y="537"/>
                        <a:pt x="414" y="537"/>
                        <a:pt x="414" y="537"/>
                      </a:cubicBezTo>
                      <a:cubicBezTo>
                        <a:pt x="398" y="554"/>
                        <a:pt x="398" y="554"/>
                        <a:pt x="398" y="554"/>
                      </a:cubicBezTo>
                      <a:cubicBezTo>
                        <a:pt x="427" y="583"/>
                        <a:pt x="427" y="583"/>
                        <a:pt x="427" y="583"/>
                      </a:cubicBezTo>
                      <a:cubicBezTo>
                        <a:pt x="439" y="595"/>
                        <a:pt x="439" y="614"/>
                        <a:pt x="427" y="625"/>
                      </a:cubicBezTo>
                      <a:cubicBezTo>
                        <a:pt x="415" y="636"/>
                        <a:pt x="397" y="636"/>
                        <a:pt x="385" y="625"/>
                      </a:cubicBezTo>
                      <a:cubicBezTo>
                        <a:pt x="364" y="604"/>
                        <a:pt x="364" y="604"/>
                        <a:pt x="364" y="604"/>
                      </a:cubicBezTo>
                      <a:cubicBezTo>
                        <a:pt x="383" y="582"/>
                        <a:pt x="381" y="549"/>
                        <a:pt x="360" y="530"/>
                      </a:cubicBezTo>
                      <a:cubicBezTo>
                        <a:pt x="348" y="520"/>
                        <a:pt x="333" y="515"/>
                        <a:pt x="318" y="517"/>
                      </a:cubicBezTo>
                      <a:cubicBezTo>
                        <a:pt x="322" y="488"/>
                        <a:pt x="301" y="462"/>
                        <a:pt x="273" y="458"/>
                      </a:cubicBezTo>
                      <a:cubicBezTo>
                        <a:pt x="268" y="458"/>
                        <a:pt x="264" y="458"/>
                        <a:pt x="260" y="458"/>
                      </a:cubicBezTo>
                      <a:cubicBezTo>
                        <a:pt x="263" y="429"/>
                        <a:pt x="243" y="403"/>
                        <a:pt x="214" y="400"/>
                      </a:cubicBezTo>
                      <a:cubicBezTo>
                        <a:pt x="210" y="399"/>
                        <a:pt x="206" y="399"/>
                        <a:pt x="201" y="400"/>
                      </a:cubicBezTo>
                      <a:cubicBezTo>
                        <a:pt x="205" y="371"/>
                        <a:pt x="184" y="345"/>
                        <a:pt x="156" y="341"/>
                      </a:cubicBezTo>
                      <a:cubicBezTo>
                        <a:pt x="141" y="339"/>
                        <a:pt x="125" y="344"/>
                        <a:pt x="114" y="354"/>
                      </a:cubicBezTo>
                      <a:cubicBezTo>
                        <a:pt x="17" y="257"/>
                        <a:pt x="17" y="257"/>
                        <a:pt x="17" y="257"/>
                      </a:cubicBezTo>
                      <a:cubicBezTo>
                        <a:pt x="0" y="273"/>
                        <a:pt x="0" y="273"/>
                        <a:pt x="0" y="273"/>
                      </a:cubicBezTo>
                      <a:cubicBezTo>
                        <a:pt x="97" y="370"/>
                        <a:pt x="97" y="370"/>
                        <a:pt x="97" y="370"/>
                      </a:cubicBezTo>
                      <a:cubicBezTo>
                        <a:pt x="76" y="391"/>
                        <a:pt x="76" y="391"/>
                        <a:pt x="76" y="391"/>
                      </a:cubicBezTo>
                      <a:cubicBezTo>
                        <a:pt x="56" y="412"/>
                        <a:pt x="56" y="446"/>
                        <a:pt x="76" y="466"/>
                      </a:cubicBezTo>
                      <a:cubicBezTo>
                        <a:pt x="86" y="476"/>
                        <a:pt x="100" y="482"/>
                        <a:pt x="114" y="482"/>
                      </a:cubicBezTo>
                      <a:cubicBezTo>
                        <a:pt x="116" y="482"/>
                        <a:pt x="118" y="482"/>
                        <a:pt x="120" y="481"/>
                      </a:cubicBezTo>
                      <a:cubicBezTo>
                        <a:pt x="116" y="510"/>
                        <a:pt x="137" y="536"/>
                        <a:pt x="166" y="540"/>
                      </a:cubicBezTo>
                      <a:cubicBezTo>
                        <a:pt x="168" y="540"/>
                        <a:pt x="170" y="540"/>
                        <a:pt x="172" y="540"/>
                      </a:cubicBezTo>
                      <a:cubicBezTo>
                        <a:pt x="174" y="540"/>
                        <a:pt x="176" y="540"/>
                        <a:pt x="178" y="540"/>
                      </a:cubicBezTo>
                      <a:cubicBezTo>
                        <a:pt x="175" y="568"/>
                        <a:pt x="195" y="595"/>
                        <a:pt x="224" y="598"/>
                      </a:cubicBezTo>
                      <a:cubicBezTo>
                        <a:pt x="226" y="599"/>
                        <a:pt x="229" y="599"/>
                        <a:pt x="231" y="599"/>
                      </a:cubicBezTo>
                      <a:cubicBezTo>
                        <a:pt x="233" y="599"/>
                        <a:pt x="235" y="598"/>
                        <a:pt x="237" y="598"/>
                      </a:cubicBezTo>
                      <a:cubicBezTo>
                        <a:pt x="233" y="627"/>
                        <a:pt x="254" y="653"/>
                        <a:pt x="283" y="657"/>
                      </a:cubicBezTo>
                      <a:cubicBezTo>
                        <a:pt x="299" y="659"/>
                        <a:pt x="315" y="653"/>
                        <a:pt x="327" y="642"/>
                      </a:cubicBezTo>
                      <a:cubicBezTo>
                        <a:pt x="348" y="621"/>
                        <a:pt x="348" y="621"/>
                        <a:pt x="348" y="621"/>
                      </a:cubicBezTo>
                      <a:cubicBezTo>
                        <a:pt x="369" y="642"/>
                        <a:pt x="369" y="642"/>
                        <a:pt x="369" y="642"/>
                      </a:cubicBezTo>
                      <a:cubicBezTo>
                        <a:pt x="389" y="662"/>
                        <a:pt x="423" y="662"/>
                        <a:pt x="444" y="642"/>
                      </a:cubicBezTo>
                      <a:cubicBezTo>
                        <a:pt x="455" y="630"/>
                        <a:pt x="461" y="614"/>
                        <a:pt x="459" y="598"/>
                      </a:cubicBezTo>
                      <a:cubicBezTo>
                        <a:pt x="488" y="602"/>
                        <a:pt x="514" y="581"/>
                        <a:pt x="517" y="552"/>
                      </a:cubicBezTo>
                      <a:cubicBezTo>
                        <a:pt x="518" y="548"/>
                        <a:pt x="518" y="544"/>
                        <a:pt x="517" y="540"/>
                      </a:cubicBezTo>
                      <a:cubicBezTo>
                        <a:pt x="546" y="543"/>
                        <a:pt x="573" y="522"/>
                        <a:pt x="576" y="493"/>
                      </a:cubicBezTo>
                      <a:cubicBezTo>
                        <a:pt x="576" y="489"/>
                        <a:pt x="576" y="485"/>
                        <a:pt x="576" y="481"/>
                      </a:cubicBezTo>
                      <a:cubicBezTo>
                        <a:pt x="605" y="485"/>
                        <a:pt x="631" y="464"/>
                        <a:pt x="634" y="435"/>
                      </a:cubicBezTo>
                      <a:cubicBezTo>
                        <a:pt x="636" y="419"/>
                        <a:pt x="630" y="403"/>
                        <a:pt x="619" y="391"/>
                      </a:cubicBezTo>
                      <a:close/>
                      <a:moveTo>
                        <a:pt x="135" y="450"/>
                      </a:moveTo>
                      <a:cubicBezTo>
                        <a:pt x="123" y="461"/>
                        <a:pt x="104" y="461"/>
                        <a:pt x="93" y="450"/>
                      </a:cubicBezTo>
                      <a:cubicBezTo>
                        <a:pt x="81" y="438"/>
                        <a:pt x="81" y="419"/>
                        <a:pt x="93" y="408"/>
                      </a:cubicBezTo>
                      <a:cubicBezTo>
                        <a:pt x="128" y="373"/>
                        <a:pt x="128" y="373"/>
                        <a:pt x="128" y="373"/>
                      </a:cubicBezTo>
                      <a:cubicBezTo>
                        <a:pt x="140" y="361"/>
                        <a:pt x="158" y="362"/>
                        <a:pt x="170" y="373"/>
                      </a:cubicBezTo>
                      <a:cubicBezTo>
                        <a:pt x="181" y="385"/>
                        <a:pt x="181" y="403"/>
                        <a:pt x="170" y="415"/>
                      </a:cubicBezTo>
                      <a:lnTo>
                        <a:pt x="135" y="450"/>
                      </a:lnTo>
                      <a:close/>
                      <a:moveTo>
                        <a:pt x="193" y="508"/>
                      </a:moveTo>
                      <a:cubicBezTo>
                        <a:pt x="182" y="520"/>
                        <a:pt x="163" y="520"/>
                        <a:pt x="151" y="508"/>
                      </a:cubicBezTo>
                      <a:cubicBezTo>
                        <a:pt x="140" y="497"/>
                        <a:pt x="140" y="478"/>
                        <a:pt x="151" y="466"/>
                      </a:cubicBezTo>
                      <a:cubicBezTo>
                        <a:pt x="186" y="431"/>
                        <a:pt x="186" y="431"/>
                        <a:pt x="186" y="431"/>
                      </a:cubicBezTo>
                      <a:cubicBezTo>
                        <a:pt x="198" y="420"/>
                        <a:pt x="217" y="420"/>
                        <a:pt x="228" y="432"/>
                      </a:cubicBezTo>
                      <a:cubicBezTo>
                        <a:pt x="239" y="443"/>
                        <a:pt x="239" y="462"/>
                        <a:pt x="228" y="473"/>
                      </a:cubicBezTo>
                      <a:lnTo>
                        <a:pt x="193" y="508"/>
                      </a:lnTo>
                      <a:close/>
                      <a:moveTo>
                        <a:pt x="210" y="567"/>
                      </a:moveTo>
                      <a:cubicBezTo>
                        <a:pt x="198" y="555"/>
                        <a:pt x="198" y="536"/>
                        <a:pt x="210" y="525"/>
                      </a:cubicBezTo>
                      <a:cubicBezTo>
                        <a:pt x="245" y="490"/>
                        <a:pt x="245" y="490"/>
                        <a:pt x="245" y="490"/>
                      </a:cubicBezTo>
                      <a:cubicBezTo>
                        <a:pt x="257" y="478"/>
                        <a:pt x="275" y="479"/>
                        <a:pt x="287" y="490"/>
                      </a:cubicBezTo>
                      <a:cubicBezTo>
                        <a:pt x="298" y="502"/>
                        <a:pt x="298" y="520"/>
                        <a:pt x="287" y="532"/>
                      </a:cubicBezTo>
                      <a:cubicBezTo>
                        <a:pt x="252" y="567"/>
                        <a:pt x="252" y="567"/>
                        <a:pt x="252" y="567"/>
                      </a:cubicBezTo>
                      <a:cubicBezTo>
                        <a:pt x="240" y="578"/>
                        <a:pt x="221" y="578"/>
                        <a:pt x="210" y="567"/>
                      </a:cubicBezTo>
                      <a:close/>
                      <a:moveTo>
                        <a:pt x="345" y="590"/>
                      </a:moveTo>
                      <a:cubicBezTo>
                        <a:pt x="310" y="625"/>
                        <a:pt x="310" y="625"/>
                        <a:pt x="310" y="625"/>
                      </a:cubicBezTo>
                      <a:cubicBezTo>
                        <a:pt x="298" y="637"/>
                        <a:pt x="280" y="636"/>
                        <a:pt x="268" y="624"/>
                      </a:cubicBezTo>
                      <a:cubicBezTo>
                        <a:pt x="257" y="613"/>
                        <a:pt x="257" y="595"/>
                        <a:pt x="268" y="583"/>
                      </a:cubicBezTo>
                      <a:cubicBezTo>
                        <a:pt x="303" y="548"/>
                        <a:pt x="303" y="548"/>
                        <a:pt x="303" y="548"/>
                      </a:cubicBezTo>
                      <a:cubicBezTo>
                        <a:pt x="315" y="537"/>
                        <a:pt x="334" y="537"/>
                        <a:pt x="345" y="549"/>
                      </a:cubicBezTo>
                      <a:cubicBezTo>
                        <a:pt x="356" y="560"/>
                        <a:pt x="356" y="579"/>
                        <a:pt x="345" y="5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" name="Freeform 27">
                  <a:extLst>
                    <a:ext uri="{FF2B5EF4-FFF2-40B4-BE49-F238E27FC236}">
                      <a16:creationId xmlns:a16="http://schemas.microsoft.com/office/drawing/2014/main" id="{B1C97E4A-33EC-4F3D-BB85-56CF273C27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" y="2"/>
                  <a:ext cx="256" cy="185"/>
                </a:xfrm>
                <a:custGeom>
                  <a:avLst/>
                  <a:gdLst>
                    <a:gd name="T0" fmla="*/ 88 w 125"/>
                    <a:gd name="T1" fmla="*/ 66 h 90"/>
                    <a:gd name="T2" fmla="*/ 80 w 125"/>
                    <a:gd name="T3" fmla="*/ 63 h 90"/>
                    <a:gd name="T4" fmla="*/ 16 w 125"/>
                    <a:gd name="T5" fmla="*/ 0 h 90"/>
                    <a:gd name="T6" fmla="*/ 0 w 125"/>
                    <a:gd name="T7" fmla="*/ 16 h 90"/>
                    <a:gd name="T8" fmla="*/ 63 w 125"/>
                    <a:gd name="T9" fmla="*/ 79 h 90"/>
                    <a:gd name="T10" fmla="*/ 88 w 125"/>
                    <a:gd name="T11" fmla="*/ 90 h 90"/>
                    <a:gd name="T12" fmla="*/ 125 w 125"/>
                    <a:gd name="T13" fmla="*/ 90 h 90"/>
                    <a:gd name="T14" fmla="*/ 125 w 125"/>
                    <a:gd name="T15" fmla="*/ 66 h 90"/>
                    <a:gd name="T16" fmla="*/ 88 w 125"/>
                    <a:gd name="T17" fmla="*/ 66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5" h="90">
                      <a:moveTo>
                        <a:pt x="88" y="66"/>
                      </a:moveTo>
                      <a:cubicBezTo>
                        <a:pt x="85" y="66"/>
                        <a:pt x="82" y="65"/>
                        <a:pt x="80" y="63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63" y="79"/>
                        <a:pt x="63" y="79"/>
                        <a:pt x="63" y="79"/>
                      </a:cubicBezTo>
                      <a:cubicBezTo>
                        <a:pt x="70" y="86"/>
                        <a:pt x="79" y="90"/>
                        <a:pt x="88" y="90"/>
                      </a:cubicBezTo>
                      <a:cubicBezTo>
                        <a:pt x="125" y="90"/>
                        <a:pt x="125" y="90"/>
                        <a:pt x="125" y="90"/>
                      </a:cubicBezTo>
                      <a:cubicBezTo>
                        <a:pt x="125" y="66"/>
                        <a:pt x="125" y="66"/>
                        <a:pt x="125" y="66"/>
                      </a:cubicBezTo>
                      <a:lnTo>
                        <a:pt x="88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10" name="Freeform 566">
                <a:extLst>
                  <a:ext uri="{FF2B5EF4-FFF2-40B4-BE49-F238E27FC236}">
                    <a16:creationId xmlns:a16="http://schemas.microsoft.com/office/drawing/2014/main" id="{1AF9DAB5-723B-4D5B-8FA2-C4223F176B9A}"/>
                  </a:ext>
                </a:extLst>
              </p:cNvPr>
              <p:cNvSpPr/>
              <p:nvPr/>
            </p:nvSpPr>
            <p:spPr>
              <a:xfrm>
                <a:off x="11214315" y="3009898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3B677F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7A85D1FC-9FE9-4D52-8965-DC6435E18849}"/>
                </a:ext>
              </a:extLst>
            </p:cNvPr>
            <p:cNvSpPr txBox="1"/>
            <p:nvPr/>
          </p:nvSpPr>
          <p:spPr>
            <a:xfrm>
              <a:off x="11216833" y="3115749"/>
              <a:ext cx="5084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CSL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CD46819-095F-424F-854D-378D24A97D68}"/>
              </a:ext>
            </a:extLst>
          </p:cNvPr>
          <p:cNvGrpSpPr/>
          <p:nvPr/>
        </p:nvGrpSpPr>
        <p:grpSpPr>
          <a:xfrm>
            <a:off x="10592778" y="2761845"/>
            <a:ext cx="516271" cy="625903"/>
            <a:chOff x="10389493" y="2669040"/>
            <a:chExt cx="516271" cy="625903"/>
          </a:xfrm>
        </p:grpSpPr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79036E92-E080-4AFB-A219-702BB41402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47405" y="2669040"/>
              <a:ext cx="392753" cy="392753"/>
            </a:xfrm>
            <a:prstGeom prst="ellipse">
              <a:avLst/>
            </a:prstGeom>
            <a:solidFill>
              <a:schemeClr val="bg1">
                <a:lumMod val="85000"/>
                <a:alpha val="76000"/>
              </a:schemeClr>
            </a:solidFill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CR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85F05A87-AED8-43F3-A902-B469968794D0}"/>
                </a:ext>
              </a:extLst>
            </p:cNvPr>
            <p:cNvSpPr/>
            <p:nvPr/>
          </p:nvSpPr>
          <p:spPr>
            <a:xfrm>
              <a:off x="10492189" y="2714774"/>
              <a:ext cx="301287" cy="30128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bIns="0" rtlCol="0" anchor="b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CR" sz="400" b="1" spc="4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24" name="Group 24">
              <a:extLst>
                <a:ext uri="{FF2B5EF4-FFF2-40B4-BE49-F238E27FC236}">
                  <a16:creationId xmlns:a16="http://schemas.microsoft.com/office/drawing/2014/main" id="{D8EE2A7B-8926-45FA-B841-C9FE0C2C469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539139" y="2767700"/>
              <a:ext cx="205084" cy="195436"/>
              <a:chOff x="3" y="2"/>
              <a:chExt cx="1424" cy="1357"/>
            </a:xfrm>
            <a:solidFill>
              <a:schemeClr val="bg1"/>
            </a:solidFill>
          </p:grpSpPr>
          <p:sp>
            <p:nvSpPr>
              <p:cNvPr id="227" name="Freeform 25">
                <a:extLst>
                  <a:ext uri="{FF2B5EF4-FFF2-40B4-BE49-F238E27FC236}">
                    <a16:creationId xmlns:a16="http://schemas.microsoft.com/office/drawing/2014/main" id="{08B5C3FA-D632-421F-A86A-64E914D2A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529"/>
                <a:ext cx="201" cy="201"/>
              </a:xfrm>
              <a:custGeom>
                <a:avLst/>
                <a:gdLst>
                  <a:gd name="T0" fmla="*/ 0 w 201"/>
                  <a:gd name="T1" fmla="*/ 168 h 201"/>
                  <a:gd name="T2" fmla="*/ 166 w 201"/>
                  <a:gd name="T3" fmla="*/ 0 h 201"/>
                  <a:gd name="T4" fmla="*/ 201 w 201"/>
                  <a:gd name="T5" fmla="*/ 33 h 201"/>
                  <a:gd name="T6" fmla="*/ 33 w 201"/>
                  <a:gd name="T7" fmla="*/ 201 h 201"/>
                  <a:gd name="T8" fmla="*/ 0 w 201"/>
                  <a:gd name="T9" fmla="*/ 16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201">
                    <a:moveTo>
                      <a:pt x="0" y="168"/>
                    </a:moveTo>
                    <a:lnTo>
                      <a:pt x="166" y="0"/>
                    </a:lnTo>
                    <a:lnTo>
                      <a:pt x="201" y="33"/>
                    </a:lnTo>
                    <a:lnTo>
                      <a:pt x="33" y="201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8" name="Freeform 26">
                <a:extLst>
                  <a:ext uri="{FF2B5EF4-FFF2-40B4-BE49-F238E27FC236}">
                    <a16:creationId xmlns:a16="http://schemas.microsoft.com/office/drawing/2014/main" id="{82B8980D-E8FB-4163-B40C-4C4F3FB339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" y="2"/>
                <a:ext cx="1303" cy="1357"/>
              </a:xfrm>
              <a:custGeom>
                <a:avLst/>
                <a:gdLst>
                  <a:gd name="T0" fmla="*/ 502 w 636"/>
                  <a:gd name="T1" fmla="*/ 275 h 662"/>
                  <a:gd name="T2" fmla="*/ 566 w 636"/>
                  <a:gd name="T3" fmla="*/ 215 h 662"/>
                  <a:gd name="T4" fmla="*/ 509 w 636"/>
                  <a:gd name="T5" fmla="*/ 239 h 662"/>
                  <a:gd name="T6" fmla="*/ 309 w 636"/>
                  <a:gd name="T7" fmla="*/ 222 h 662"/>
                  <a:gd name="T8" fmla="*/ 262 w 636"/>
                  <a:gd name="T9" fmla="*/ 249 h 662"/>
                  <a:gd name="T10" fmla="*/ 300 w 636"/>
                  <a:gd name="T11" fmla="*/ 106 h 662"/>
                  <a:gd name="T12" fmla="*/ 478 w 636"/>
                  <a:gd name="T13" fmla="*/ 90 h 662"/>
                  <a:gd name="T14" fmla="*/ 566 w 636"/>
                  <a:gd name="T15" fmla="*/ 16 h 662"/>
                  <a:gd name="T16" fmla="*/ 487 w 636"/>
                  <a:gd name="T17" fmla="*/ 63 h 662"/>
                  <a:gd name="T18" fmla="*/ 340 w 636"/>
                  <a:gd name="T19" fmla="*/ 66 h 662"/>
                  <a:gd name="T20" fmla="*/ 118 w 636"/>
                  <a:gd name="T21" fmla="*/ 245 h 662"/>
                  <a:gd name="T22" fmla="*/ 117 w 636"/>
                  <a:gd name="T23" fmla="*/ 262 h 662"/>
                  <a:gd name="T24" fmla="*/ 300 w 636"/>
                  <a:gd name="T25" fmla="*/ 246 h 662"/>
                  <a:gd name="T26" fmla="*/ 481 w 636"/>
                  <a:gd name="T27" fmla="*/ 286 h 662"/>
                  <a:gd name="T28" fmla="*/ 602 w 636"/>
                  <a:gd name="T29" fmla="*/ 450 h 662"/>
                  <a:gd name="T30" fmla="*/ 531 w 636"/>
                  <a:gd name="T31" fmla="*/ 421 h 662"/>
                  <a:gd name="T32" fmla="*/ 544 w 636"/>
                  <a:gd name="T33" fmla="*/ 466 h 662"/>
                  <a:gd name="T34" fmla="*/ 502 w 636"/>
                  <a:gd name="T35" fmla="*/ 508 h 662"/>
                  <a:gd name="T36" fmla="*/ 456 w 636"/>
                  <a:gd name="T37" fmla="*/ 496 h 662"/>
                  <a:gd name="T38" fmla="*/ 486 w 636"/>
                  <a:gd name="T39" fmla="*/ 567 h 662"/>
                  <a:gd name="T40" fmla="*/ 414 w 636"/>
                  <a:gd name="T41" fmla="*/ 537 h 662"/>
                  <a:gd name="T42" fmla="*/ 427 w 636"/>
                  <a:gd name="T43" fmla="*/ 583 h 662"/>
                  <a:gd name="T44" fmla="*/ 385 w 636"/>
                  <a:gd name="T45" fmla="*/ 625 h 662"/>
                  <a:gd name="T46" fmla="*/ 360 w 636"/>
                  <a:gd name="T47" fmla="*/ 530 h 662"/>
                  <a:gd name="T48" fmla="*/ 273 w 636"/>
                  <a:gd name="T49" fmla="*/ 458 h 662"/>
                  <a:gd name="T50" fmla="*/ 214 w 636"/>
                  <a:gd name="T51" fmla="*/ 400 h 662"/>
                  <a:gd name="T52" fmla="*/ 156 w 636"/>
                  <a:gd name="T53" fmla="*/ 341 h 662"/>
                  <a:gd name="T54" fmla="*/ 17 w 636"/>
                  <a:gd name="T55" fmla="*/ 257 h 662"/>
                  <a:gd name="T56" fmla="*/ 97 w 636"/>
                  <a:gd name="T57" fmla="*/ 370 h 662"/>
                  <a:gd name="T58" fmla="*/ 76 w 636"/>
                  <a:gd name="T59" fmla="*/ 466 h 662"/>
                  <a:gd name="T60" fmla="*/ 120 w 636"/>
                  <a:gd name="T61" fmla="*/ 481 h 662"/>
                  <a:gd name="T62" fmla="*/ 172 w 636"/>
                  <a:gd name="T63" fmla="*/ 540 h 662"/>
                  <a:gd name="T64" fmla="*/ 224 w 636"/>
                  <a:gd name="T65" fmla="*/ 598 h 662"/>
                  <a:gd name="T66" fmla="*/ 237 w 636"/>
                  <a:gd name="T67" fmla="*/ 598 h 662"/>
                  <a:gd name="T68" fmla="*/ 327 w 636"/>
                  <a:gd name="T69" fmla="*/ 642 h 662"/>
                  <a:gd name="T70" fmla="*/ 369 w 636"/>
                  <a:gd name="T71" fmla="*/ 642 h 662"/>
                  <a:gd name="T72" fmla="*/ 459 w 636"/>
                  <a:gd name="T73" fmla="*/ 598 h 662"/>
                  <a:gd name="T74" fmla="*/ 517 w 636"/>
                  <a:gd name="T75" fmla="*/ 540 h 662"/>
                  <a:gd name="T76" fmla="*/ 576 w 636"/>
                  <a:gd name="T77" fmla="*/ 481 h 662"/>
                  <a:gd name="T78" fmla="*/ 619 w 636"/>
                  <a:gd name="T79" fmla="*/ 391 h 662"/>
                  <a:gd name="T80" fmla="*/ 93 w 636"/>
                  <a:gd name="T81" fmla="*/ 450 h 662"/>
                  <a:gd name="T82" fmla="*/ 128 w 636"/>
                  <a:gd name="T83" fmla="*/ 373 h 662"/>
                  <a:gd name="T84" fmla="*/ 170 w 636"/>
                  <a:gd name="T85" fmla="*/ 415 h 662"/>
                  <a:gd name="T86" fmla="*/ 193 w 636"/>
                  <a:gd name="T87" fmla="*/ 508 h 662"/>
                  <a:gd name="T88" fmla="*/ 151 w 636"/>
                  <a:gd name="T89" fmla="*/ 466 h 662"/>
                  <a:gd name="T90" fmla="*/ 228 w 636"/>
                  <a:gd name="T91" fmla="*/ 432 h 662"/>
                  <a:gd name="T92" fmla="*/ 193 w 636"/>
                  <a:gd name="T93" fmla="*/ 508 h 662"/>
                  <a:gd name="T94" fmla="*/ 210 w 636"/>
                  <a:gd name="T95" fmla="*/ 525 h 662"/>
                  <a:gd name="T96" fmla="*/ 287 w 636"/>
                  <a:gd name="T97" fmla="*/ 490 h 662"/>
                  <a:gd name="T98" fmla="*/ 252 w 636"/>
                  <a:gd name="T99" fmla="*/ 567 h 662"/>
                  <a:gd name="T100" fmla="*/ 345 w 636"/>
                  <a:gd name="T101" fmla="*/ 590 h 662"/>
                  <a:gd name="T102" fmla="*/ 268 w 636"/>
                  <a:gd name="T103" fmla="*/ 624 h 662"/>
                  <a:gd name="T104" fmla="*/ 303 w 636"/>
                  <a:gd name="T105" fmla="*/ 548 h 662"/>
                  <a:gd name="T106" fmla="*/ 345 w 636"/>
                  <a:gd name="T107" fmla="*/ 590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6" h="662">
                    <a:moveTo>
                      <a:pt x="619" y="391"/>
                    </a:moveTo>
                    <a:cubicBezTo>
                      <a:pt x="502" y="275"/>
                      <a:pt x="502" y="275"/>
                      <a:pt x="502" y="275"/>
                    </a:cubicBezTo>
                    <a:cubicBezTo>
                      <a:pt x="511" y="269"/>
                      <a:pt x="518" y="263"/>
                      <a:pt x="525" y="256"/>
                    </a:cubicBezTo>
                    <a:cubicBezTo>
                      <a:pt x="566" y="215"/>
                      <a:pt x="566" y="215"/>
                      <a:pt x="566" y="215"/>
                    </a:cubicBezTo>
                    <a:cubicBezTo>
                      <a:pt x="550" y="198"/>
                      <a:pt x="550" y="198"/>
                      <a:pt x="550" y="198"/>
                    </a:cubicBezTo>
                    <a:cubicBezTo>
                      <a:pt x="509" y="239"/>
                      <a:pt x="509" y="239"/>
                      <a:pt x="509" y="239"/>
                    </a:cubicBezTo>
                    <a:cubicBezTo>
                      <a:pt x="459" y="290"/>
                      <a:pt x="377" y="290"/>
                      <a:pt x="327" y="239"/>
                    </a:cubicBezTo>
                    <a:cubicBezTo>
                      <a:pt x="309" y="222"/>
                      <a:pt x="309" y="222"/>
                      <a:pt x="309" y="222"/>
                    </a:cubicBezTo>
                    <a:cubicBezTo>
                      <a:pt x="305" y="217"/>
                      <a:pt x="298" y="217"/>
                      <a:pt x="293" y="221"/>
                    </a:cubicBezTo>
                    <a:cubicBezTo>
                      <a:pt x="262" y="249"/>
                      <a:pt x="262" y="249"/>
                      <a:pt x="262" y="249"/>
                    </a:cubicBezTo>
                    <a:cubicBezTo>
                      <a:pt x="228" y="279"/>
                      <a:pt x="179" y="280"/>
                      <a:pt x="143" y="253"/>
                    </a:cubicBezTo>
                    <a:cubicBezTo>
                      <a:pt x="300" y="106"/>
                      <a:pt x="300" y="106"/>
                      <a:pt x="300" y="106"/>
                    </a:cubicBezTo>
                    <a:cubicBezTo>
                      <a:pt x="311" y="95"/>
                      <a:pt x="325" y="90"/>
                      <a:pt x="340" y="90"/>
                    </a:cubicBezTo>
                    <a:cubicBezTo>
                      <a:pt x="478" y="90"/>
                      <a:pt x="478" y="90"/>
                      <a:pt x="478" y="90"/>
                    </a:cubicBezTo>
                    <a:cubicBezTo>
                      <a:pt x="488" y="90"/>
                      <a:pt x="497" y="86"/>
                      <a:pt x="503" y="79"/>
                    </a:cubicBezTo>
                    <a:cubicBezTo>
                      <a:pt x="566" y="16"/>
                      <a:pt x="566" y="16"/>
                      <a:pt x="566" y="16"/>
                    </a:cubicBezTo>
                    <a:cubicBezTo>
                      <a:pt x="550" y="0"/>
                      <a:pt x="550" y="0"/>
                      <a:pt x="550" y="0"/>
                    </a:cubicBezTo>
                    <a:cubicBezTo>
                      <a:pt x="487" y="63"/>
                      <a:pt x="487" y="63"/>
                      <a:pt x="487" y="63"/>
                    </a:cubicBezTo>
                    <a:cubicBezTo>
                      <a:pt x="484" y="65"/>
                      <a:pt x="481" y="66"/>
                      <a:pt x="478" y="66"/>
                    </a:cubicBezTo>
                    <a:cubicBezTo>
                      <a:pt x="340" y="66"/>
                      <a:pt x="340" y="66"/>
                      <a:pt x="340" y="66"/>
                    </a:cubicBezTo>
                    <a:cubicBezTo>
                      <a:pt x="320" y="66"/>
                      <a:pt x="299" y="74"/>
                      <a:pt x="284" y="88"/>
                    </a:cubicBezTo>
                    <a:cubicBezTo>
                      <a:pt x="118" y="245"/>
                      <a:pt x="118" y="245"/>
                      <a:pt x="118" y="245"/>
                    </a:cubicBezTo>
                    <a:cubicBezTo>
                      <a:pt x="113" y="249"/>
                      <a:pt x="113" y="257"/>
                      <a:pt x="117" y="261"/>
                    </a:cubicBezTo>
                    <a:cubicBezTo>
                      <a:pt x="117" y="261"/>
                      <a:pt x="117" y="262"/>
                      <a:pt x="117" y="262"/>
                    </a:cubicBezTo>
                    <a:cubicBezTo>
                      <a:pt x="161" y="305"/>
                      <a:pt x="231" y="307"/>
                      <a:pt x="278" y="266"/>
                    </a:cubicBezTo>
                    <a:cubicBezTo>
                      <a:pt x="300" y="246"/>
                      <a:pt x="300" y="246"/>
                      <a:pt x="300" y="246"/>
                    </a:cubicBezTo>
                    <a:cubicBezTo>
                      <a:pt x="310" y="256"/>
                      <a:pt x="310" y="256"/>
                      <a:pt x="310" y="256"/>
                    </a:cubicBezTo>
                    <a:cubicBezTo>
                      <a:pt x="355" y="301"/>
                      <a:pt x="423" y="313"/>
                      <a:pt x="481" y="286"/>
                    </a:cubicBezTo>
                    <a:cubicBezTo>
                      <a:pt x="602" y="408"/>
                      <a:pt x="602" y="408"/>
                      <a:pt x="602" y="408"/>
                    </a:cubicBezTo>
                    <a:cubicBezTo>
                      <a:pt x="614" y="420"/>
                      <a:pt x="614" y="438"/>
                      <a:pt x="602" y="450"/>
                    </a:cubicBezTo>
                    <a:cubicBezTo>
                      <a:pt x="590" y="461"/>
                      <a:pt x="572" y="461"/>
                      <a:pt x="561" y="450"/>
                    </a:cubicBezTo>
                    <a:cubicBezTo>
                      <a:pt x="531" y="421"/>
                      <a:pt x="531" y="421"/>
                      <a:pt x="531" y="421"/>
                    </a:cubicBezTo>
                    <a:cubicBezTo>
                      <a:pt x="515" y="437"/>
                      <a:pt x="515" y="437"/>
                      <a:pt x="515" y="437"/>
                    </a:cubicBezTo>
                    <a:cubicBezTo>
                      <a:pt x="544" y="466"/>
                      <a:pt x="544" y="466"/>
                      <a:pt x="544" y="466"/>
                    </a:cubicBezTo>
                    <a:cubicBezTo>
                      <a:pt x="556" y="478"/>
                      <a:pt x="556" y="497"/>
                      <a:pt x="544" y="508"/>
                    </a:cubicBezTo>
                    <a:cubicBezTo>
                      <a:pt x="532" y="519"/>
                      <a:pt x="514" y="519"/>
                      <a:pt x="502" y="508"/>
                    </a:cubicBezTo>
                    <a:cubicBezTo>
                      <a:pt x="473" y="479"/>
                      <a:pt x="473" y="479"/>
                      <a:pt x="473" y="479"/>
                    </a:cubicBezTo>
                    <a:cubicBezTo>
                      <a:pt x="456" y="496"/>
                      <a:pt x="456" y="496"/>
                      <a:pt x="456" y="496"/>
                    </a:cubicBezTo>
                    <a:cubicBezTo>
                      <a:pt x="486" y="525"/>
                      <a:pt x="486" y="525"/>
                      <a:pt x="486" y="525"/>
                    </a:cubicBezTo>
                    <a:cubicBezTo>
                      <a:pt x="497" y="536"/>
                      <a:pt x="497" y="555"/>
                      <a:pt x="486" y="567"/>
                    </a:cubicBezTo>
                    <a:cubicBezTo>
                      <a:pt x="474" y="578"/>
                      <a:pt x="455" y="578"/>
                      <a:pt x="444" y="567"/>
                    </a:cubicBezTo>
                    <a:cubicBezTo>
                      <a:pt x="414" y="537"/>
                      <a:pt x="414" y="537"/>
                      <a:pt x="414" y="537"/>
                    </a:cubicBezTo>
                    <a:cubicBezTo>
                      <a:pt x="398" y="554"/>
                      <a:pt x="398" y="554"/>
                      <a:pt x="398" y="554"/>
                    </a:cubicBezTo>
                    <a:cubicBezTo>
                      <a:pt x="427" y="583"/>
                      <a:pt x="427" y="583"/>
                      <a:pt x="427" y="583"/>
                    </a:cubicBezTo>
                    <a:cubicBezTo>
                      <a:pt x="439" y="595"/>
                      <a:pt x="439" y="614"/>
                      <a:pt x="427" y="625"/>
                    </a:cubicBezTo>
                    <a:cubicBezTo>
                      <a:pt x="415" y="636"/>
                      <a:pt x="397" y="636"/>
                      <a:pt x="385" y="625"/>
                    </a:cubicBezTo>
                    <a:cubicBezTo>
                      <a:pt x="364" y="604"/>
                      <a:pt x="364" y="604"/>
                      <a:pt x="364" y="604"/>
                    </a:cubicBezTo>
                    <a:cubicBezTo>
                      <a:pt x="383" y="582"/>
                      <a:pt x="381" y="549"/>
                      <a:pt x="360" y="530"/>
                    </a:cubicBezTo>
                    <a:cubicBezTo>
                      <a:pt x="348" y="520"/>
                      <a:pt x="333" y="515"/>
                      <a:pt x="318" y="517"/>
                    </a:cubicBezTo>
                    <a:cubicBezTo>
                      <a:pt x="322" y="488"/>
                      <a:pt x="301" y="462"/>
                      <a:pt x="273" y="458"/>
                    </a:cubicBezTo>
                    <a:cubicBezTo>
                      <a:pt x="268" y="458"/>
                      <a:pt x="264" y="458"/>
                      <a:pt x="260" y="458"/>
                    </a:cubicBezTo>
                    <a:cubicBezTo>
                      <a:pt x="263" y="429"/>
                      <a:pt x="243" y="403"/>
                      <a:pt x="214" y="400"/>
                    </a:cubicBezTo>
                    <a:cubicBezTo>
                      <a:pt x="210" y="399"/>
                      <a:pt x="206" y="399"/>
                      <a:pt x="201" y="400"/>
                    </a:cubicBezTo>
                    <a:cubicBezTo>
                      <a:pt x="205" y="371"/>
                      <a:pt x="184" y="345"/>
                      <a:pt x="156" y="341"/>
                    </a:cubicBezTo>
                    <a:cubicBezTo>
                      <a:pt x="141" y="339"/>
                      <a:pt x="125" y="344"/>
                      <a:pt x="114" y="354"/>
                    </a:cubicBezTo>
                    <a:cubicBezTo>
                      <a:pt x="17" y="257"/>
                      <a:pt x="17" y="257"/>
                      <a:pt x="17" y="257"/>
                    </a:cubicBezTo>
                    <a:cubicBezTo>
                      <a:pt x="0" y="273"/>
                      <a:pt x="0" y="273"/>
                      <a:pt x="0" y="273"/>
                    </a:cubicBezTo>
                    <a:cubicBezTo>
                      <a:pt x="97" y="370"/>
                      <a:pt x="97" y="370"/>
                      <a:pt x="97" y="370"/>
                    </a:cubicBezTo>
                    <a:cubicBezTo>
                      <a:pt x="76" y="391"/>
                      <a:pt x="76" y="391"/>
                      <a:pt x="76" y="391"/>
                    </a:cubicBezTo>
                    <a:cubicBezTo>
                      <a:pt x="56" y="412"/>
                      <a:pt x="56" y="446"/>
                      <a:pt x="76" y="466"/>
                    </a:cubicBezTo>
                    <a:cubicBezTo>
                      <a:pt x="86" y="476"/>
                      <a:pt x="100" y="482"/>
                      <a:pt x="114" y="482"/>
                    </a:cubicBezTo>
                    <a:cubicBezTo>
                      <a:pt x="116" y="482"/>
                      <a:pt x="118" y="482"/>
                      <a:pt x="120" y="481"/>
                    </a:cubicBezTo>
                    <a:cubicBezTo>
                      <a:pt x="116" y="510"/>
                      <a:pt x="137" y="536"/>
                      <a:pt x="166" y="540"/>
                    </a:cubicBezTo>
                    <a:cubicBezTo>
                      <a:pt x="168" y="540"/>
                      <a:pt x="170" y="540"/>
                      <a:pt x="172" y="540"/>
                    </a:cubicBezTo>
                    <a:cubicBezTo>
                      <a:pt x="174" y="540"/>
                      <a:pt x="176" y="540"/>
                      <a:pt x="178" y="540"/>
                    </a:cubicBezTo>
                    <a:cubicBezTo>
                      <a:pt x="175" y="568"/>
                      <a:pt x="195" y="595"/>
                      <a:pt x="224" y="598"/>
                    </a:cubicBezTo>
                    <a:cubicBezTo>
                      <a:pt x="226" y="599"/>
                      <a:pt x="229" y="599"/>
                      <a:pt x="231" y="599"/>
                    </a:cubicBezTo>
                    <a:cubicBezTo>
                      <a:pt x="233" y="599"/>
                      <a:pt x="235" y="598"/>
                      <a:pt x="237" y="598"/>
                    </a:cubicBezTo>
                    <a:cubicBezTo>
                      <a:pt x="233" y="627"/>
                      <a:pt x="254" y="653"/>
                      <a:pt x="283" y="657"/>
                    </a:cubicBezTo>
                    <a:cubicBezTo>
                      <a:pt x="299" y="659"/>
                      <a:pt x="315" y="653"/>
                      <a:pt x="327" y="642"/>
                    </a:cubicBezTo>
                    <a:cubicBezTo>
                      <a:pt x="348" y="621"/>
                      <a:pt x="348" y="621"/>
                      <a:pt x="348" y="621"/>
                    </a:cubicBezTo>
                    <a:cubicBezTo>
                      <a:pt x="369" y="642"/>
                      <a:pt x="369" y="642"/>
                      <a:pt x="369" y="642"/>
                    </a:cubicBezTo>
                    <a:cubicBezTo>
                      <a:pt x="389" y="662"/>
                      <a:pt x="423" y="662"/>
                      <a:pt x="444" y="642"/>
                    </a:cubicBezTo>
                    <a:cubicBezTo>
                      <a:pt x="455" y="630"/>
                      <a:pt x="461" y="614"/>
                      <a:pt x="459" y="598"/>
                    </a:cubicBezTo>
                    <a:cubicBezTo>
                      <a:pt x="488" y="602"/>
                      <a:pt x="514" y="581"/>
                      <a:pt x="517" y="552"/>
                    </a:cubicBezTo>
                    <a:cubicBezTo>
                      <a:pt x="518" y="548"/>
                      <a:pt x="518" y="544"/>
                      <a:pt x="517" y="540"/>
                    </a:cubicBezTo>
                    <a:cubicBezTo>
                      <a:pt x="546" y="543"/>
                      <a:pt x="573" y="522"/>
                      <a:pt x="576" y="493"/>
                    </a:cubicBezTo>
                    <a:cubicBezTo>
                      <a:pt x="576" y="489"/>
                      <a:pt x="576" y="485"/>
                      <a:pt x="576" y="481"/>
                    </a:cubicBezTo>
                    <a:cubicBezTo>
                      <a:pt x="605" y="485"/>
                      <a:pt x="631" y="464"/>
                      <a:pt x="634" y="435"/>
                    </a:cubicBezTo>
                    <a:cubicBezTo>
                      <a:pt x="636" y="419"/>
                      <a:pt x="630" y="403"/>
                      <a:pt x="619" y="391"/>
                    </a:cubicBezTo>
                    <a:close/>
                    <a:moveTo>
                      <a:pt x="135" y="450"/>
                    </a:moveTo>
                    <a:cubicBezTo>
                      <a:pt x="123" y="461"/>
                      <a:pt x="104" y="461"/>
                      <a:pt x="93" y="450"/>
                    </a:cubicBezTo>
                    <a:cubicBezTo>
                      <a:pt x="81" y="438"/>
                      <a:pt x="81" y="419"/>
                      <a:pt x="93" y="408"/>
                    </a:cubicBezTo>
                    <a:cubicBezTo>
                      <a:pt x="128" y="373"/>
                      <a:pt x="128" y="373"/>
                      <a:pt x="128" y="373"/>
                    </a:cubicBezTo>
                    <a:cubicBezTo>
                      <a:pt x="140" y="361"/>
                      <a:pt x="158" y="362"/>
                      <a:pt x="170" y="373"/>
                    </a:cubicBezTo>
                    <a:cubicBezTo>
                      <a:pt x="181" y="385"/>
                      <a:pt x="181" y="403"/>
                      <a:pt x="170" y="415"/>
                    </a:cubicBezTo>
                    <a:lnTo>
                      <a:pt x="135" y="450"/>
                    </a:lnTo>
                    <a:close/>
                    <a:moveTo>
                      <a:pt x="193" y="508"/>
                    </a:moveTo>
                    <a:cubicBezTo>
                      <a:pt x="182" y="520"/>
                      <a:pt x="163" y="520"/>
                      <a:pt x="151" y="508"/>
                    </a:cubicBezTo>
                    <a:cubicBezTo>
                      <a:pt x="140" y="497"/>
                      <a:pt x="140" y="478"/>
                      <a:pt x="151" y="466"/>
                    </a:cubicBezTo>
                    <a:cubicBezTo>
                      <a:pt x="186" y="431"/>
                      <a:pt x="186" y="431"/>
                      <a:pt x="186" y="431"/>
                    </a:cubicBezTo>
                    <a:cubicBezTo>
                      <a:pt x="198" y="420"/>
                      <a:pt x="217" y="420"/>
                      <a:pt x="228" y="432"/>
                    </a:cubicBezTo>
                    <a:cubicBezTo>
                      <a:pt x="239" y="443"/>
                      <a:pt x="239" y="462"/>
                      <a:pt x="228" y="473"/>
                    </a:cubicBezTo>
                    <a:lnTo>
                      <a:pt x="193" y="508"/>
                    </a:lnTo>
                    <a:close/>
                    <a:moveTo>
                      <a:pt x="210" y="567"/>
                    </a:moveTo>
                    <a:cubicBezTo>
                      <a:pt x="198" y="555"/>
                      <a:pt x="198" y="536"/>
                      <a:pt x="210" y="525"/>
                    </a:cubicBezTo>
                    <a:cubicBezTo>
                      <a:pt x="245" y="490"/>
                      <a:pt x="245" y="490"/>
                      <a:pt x="245" y="490"/>
                    </a:cubicBezTo>
                    <a:cubicBezTo>
                      <a:pt x="257" y="478"/>
                      <a:pt x="275" y="479"/>
                      <a:pt x="287" y="490"/>
                    </a:cubicBezTo>
                    <a:cubicBezTo>
                      <a:pt x="298" y="502"/>
                      <a:pt x="298" y="520"/>
                      <a:pt x="287" y="532"/>
                    </a:cubicBezTo>
                    <a:cubicBezTo>
                      <a:pt x="252" y="567"/>
                      <a:pt x="252" y="567"/>
                      <a:pt x="252" y="567"/>
                    </a:cubicBezTo>
                    <a:cubicBezTo>
                      <a:pt x="240" y="578"/>
                      <a:pt x="221" y="578"/>
                      <a:pt x="210" y="567"/>
                    </a:cubicBezTo>
                    <a:close/>
                    <a:moveTo>
                      <a:pt x="345" y="590"/>
                    </a:moveTo>
                    <a:cubicBezTo>
                      <a:pt x="310" y="625"/>
                      <a:pt x="310" y="625"/>
                      <a:pt x="310" y="625"/>
                    </a:cubicBezTo>
                    <a:cubicBezTo>
                      <a:pt x="298" y="637"/>
                      <a:pt x="280" y="636"/>
                      <a:pt x="268" y="624"/>
                    </a:cubicBezTo>
                    <a:cubicBezTo>
                      <a:pt x="257" y="613"/>
                      <a:pt x="257" y="595"/>
                      <a:pt x="268" y="583"/>
                    </a:cubicBezTo>
                    <a:cubicBezTo>
                      <a:pt x="303" y="548"/>
                      <a:pt x="303" y="548"/>
                      <a:pt x="303" y="548"/>
                    </a:cubicBezTo>
                    <a:cubicBezTo>
                      <a:pt x="315" y="537"/>
                      <a:pt x="334" y="537"/>
                      <a:pt x="345" y="549"/>
                    </a:cubicBezTo>
                    <a:cubicBezTo>
                      <a:pt x="356" y="560"/>
                      <a:pt x="356" y="579"/>
                      <a:pt x="345" y="5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Freeform 27">
                <a:extLst>
                  <a:ext uri="{FF2B5EF4-FFF2-40B4-BE49-F238E27FC236}">
                    <a16:creationId xmlns:a16="http://schemas.microsoft.com/office/drawing/2014/main" id="{2DD80212-AB4B-4172-9B12-FCFE668E9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" y="2"/>
                <a:ext cx="256" cy="185"/>
              </a:xfrm>
              <a:custGeom>
                <a:avLst/>
                <a:gdLst>
                  <a:gd name="T0" fmla="*/ 88 w 125"/>
                  <a:gd name="T1" fmla="*/ 66 h 90"/>
                  <a:gd name="T2" fmla="*/ 80 w 125"/>
                  <a:gd name="T3" fmla="*/ 63 h 90"/>
                  <a:gd name="T4" fmla="*/ 16 w 125"/>
                  <a:gd name="T5" fmla="*/ 0 h 90"/>
                  <a:gd name="T6" fmla="*/ 0 w 125"/>
                  <a:gd name="T7" fmla="*/ 16 h 90"/>
                  <a:gd name="T8" fmla="*/ 63 w 125"/>
                  <a:gd name="T9" fmla="*/ 79 h 90"/>
                  <a:gd name="T10" fmla="*/ 88 w 125"/>
                  <a:gd name="T11" fmla="*/ 90 h 90"/>
                  <a:gd name="T12" fmla="*/ 125 w 125"/>
                  <a:gd name="T13" fmla="*/ 90 h 90"/>
                  <a:gd name="T14" fmla="*/ 125 w 125"/>
                  <a:gd name="T15" fmla="*/ 66 h 90"/>
                  <a:gd name="T16" fmla="*/ 88 w 125"/>
                  <a:gd name="T17" fmla="*/ 6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5" h="90">
                    <a:moveTo>
                      <a:pt x="88" y="66"/>
                    </a:moveTo>
                    <a:cubicBezTo>
                      <a:pt x="85" y="66"/>
                      <a:pt x="82" y="65"/>
                      <a:pt x="80" y="6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63" y="79"/>
                      <a:pt x="63" y="79"/>
                      <a:pt x="63" y="79"/>
                    </a:cubicBezTo>
                    <a:cubicBezTo>
                      <a:pt x="70" y="86"/>
                      <a:pt x="79" y="90"/>
                      <a:pt x="88" y="90"/>
                    </a:cubicBezTo>
                    <a:cubicBezTo>
                      <a:pt x="125" y="90"/>
                      <a:pt x="125" y="90"/>
                      <a:pt x="125" y="90"/>
                    </a:cubicBezTo>
                    <a:cubicBezTo>
                      <a:pt x="125" y="66"/>
                      <a:pt x="125" y="66"/>
                      <a:pt x="125" y="66"/>
                    </a:cubicBezTo>
                    <a:lnTo>
                      <a:pt x="88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5" name="Rectángulo 71">
              <a:extLst>
                <a:ext uri="{FF2B5EF4-FFF2-40B4-BE49-F238E27FC236}">
                  <a16:creationId xmlns:a16="http://schemas.microsoft.com/office/drawing/2014/main" id="{337BB7B0-AEC7-4E60-8572-D9AFF45AC0FB}"/>
                </a:ext>
              </a:extLst>
            </p:cNvPr>
            <p:cNvSpPr/>
            <p:nvPr/>
          </p:nvSpPr>
          <p:spPr>
            <a:xfrm rot="2700000">
              <a:off x="10609285" y="3079046"/>
              <a:ext cx="76699" cy="717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s-CO" dirty="0" err="1"/>
            </a:p>
          </p:txBody>
        </p:sp>
        <p:sp>
          <p:nvSpPr>
            <p:cNvPr id="226" name="Rectángulo 11">
              <a:extLst>
                <a:ext uri="{FF2B5EF4-FFF2-40B4-BE49-F238E27FC236}">
                  <a16:creationId xmlns:a16="http://schemas.microsoft.com/office/drawing/2014/main" id="{AE40FFB1-0A8A-4F26-9873-A62134633C98}"/>
                </a:ext>
              </a:extLst>
            </p:cNvPr>
            <p:cNvSpPr/>
            <p:nvPr/>
          </p:nvSpPr>
          <p:spPr>
            <a:xfrm>
              <a:off x="10389493" y="3113136"/>
              <a:ext cx="516271" cy="1818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/>
              <a:r>
                <a:rPr lang="en-US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apan</a:t>
              </a:r>
            </a:p>
          </p:txBody>
        </p:sp>
      </p:grpSp>
      <p:grpSp>
        <p:nvGrpSpPr>
          <p:cNvPr id="353" name="Group 352">
            <a:extLst>
              <a:ext uri="{FF2B5EF4-FFF2-40B4-BE49-F238E27FC236}">
                <a16:creationId xmlns:a16="http://schemas.microsoft.com/office/drawing/2014/main" id="{46B79A13-5A03-FD45-9DAF-FCE2E0828F7A}"/>
              </a:ext>
            </a:extLst>
          </p:cNvPr>
          <p:cNvGrpSpPr/>
          <p:nvPr/>
        </p:nvGrpSpPr>
        <p:grpSpPr>
          <a:xfrm>
            <a:off x="2944925" y="2027498"/>
            <a:ext cx="616769" cy="665649"/>
            <a:chOff x="10859417" y="941706"/>
            <a:chExt cx="616769" cy="665649"/>
          </a:xfrm>
        </p:grpSpPr>
        <p:grpSp>
          <p:nvGrpSpPr>
            <p:cNvPr id="354" name="Group 353">
              <a:extLst>
                <a:ext uri="{FF2B5EF4-FFF2-40B4-BE49-F238E27FC236}">
                  <a16:creationId xmlns:a16="http://schemas.microsoft.com/office/drawing/2014/main" id="{962E392A-7F5E-474B-833E-6D7E8EDB7DB9}"/>
                </a:ext>
              </a:extLst>
            </p:cNvPr>
            <p:cNvGrpSpPr/>
            <p:nvPr/>
          </p:nvGrpSpPr>
          <p:grpSpPr>
            <a:xfrm>
              <a:off x="10863932" y="941706"/>
              <a:ext cx="600198" cy="627112"/>
              <a:chOff x="10863932" y="941706"/>
              <a:chExt cx="600198" cy="627112"/>
            </a:xfrm>
          </p:grpSpPr>
          <p:grpSp>
            <p:nvGrpSpPr>
              <p:cNvPr id="356" name="Group 355">
                <a:extLst>
                  <a:ext uri="{FF2B5EF4-FFF2-40B4-BE49-F238E27FC236}">
                    <a16:creationId xmlns:a16="http://schemas.microsoft.com/office/drawing/2014/main" id="{B3EA34A6-4CB9-A649-AE6A-A68AEF6905A1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358" name="Oval 357">
                  <a:extLst>
                    <a:ext uri="{FF2B5EF4-FFF2-40B4-BE49-F238E27FC236}">
                      <a16:creationId xmlns:a16="http://schemas.microsoft.com/office/drawing/2014/main" id="{91098693-F8DF-D54B-9E07-2AFEDC68CDD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9" name="Oval 358">
                  <a:extLst>
                    <a:ext uri="{FF2B5EF4-FFF2-40B4-BE49-F238E27FC236}">
                      <a16:creationId xmlns:a16="http://schemas.microsoft.com/office/drawing/2014/main" id="{B45DA6D4-B378-EF4A-A482-CC359C94B7B4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rgbClr val="D278A9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60" name="Group 24">
                  <a:extLst>
                    <a:ext uri="{FF2B5EF4-FFF2-40B4-BE49-F238E27FC236}">
                      <a16:creationId xmlns:a16="http://schemas.microsoft.com/office/drawing/2014/main" id="{83CEF0F7-D13A-B34C-83BC-5D134B43123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361" name="Freeform 25">
                    <a:extLst>
                      <a:ext uri="{FF2B5EF4-FFF2-40B4-BE49-F238E27FC236}">
                        <a16:creationId xmlns:a16="http://schemas.microsoft.com/office/drawing/2014/main" id="{28DB0A19-15E3-DE46-AB8A-029E899702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62" name="Freeform 26">
                    <a:extLst>
                      <a:ext uri="{FF2B5EF4-FFF2-40B4-BE49-F238E27FC236}">
                        <a16:creationId xmlns:a16="http://schemas.microsoft.com/office/drawing/2014/main" id="{EA1C5D1D-5E5C-A44F-83C3-022D8259702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63" name="Freeform 27">
                    <a:extLst>
                      <a:ext uri="{FF2B5EF4-FFF2-40B4-BE49-F238E27FC236}">
                        <a16:creationId xmlns:a16="http://schemas.microsoft.com/office/drawing/2014/main" id="{5C77726F-5E36-BB45-A5A8-4ED1F1AF7D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357" name="Freeform 501">
                <a:extLst>
                  <a:ext uri="{FF2B5EF4-FFF2-40B4-BE49-F238E27FC236}">
                    <a16:creationId xmlns:a16="http://schemas.microsoft.com/office/drawing/2014/main" id="{11290955-B240-1A4C-A8E5-E667574F22E5}"/>
                  </a:ext>
                </a:extLst>
              </p:cNvPr>
              <p:cNvSpPr/>
              <p:nvPr/>
            </p:nvSpPr>
            <p:spPr>
              <a:xfrm>
                <a:off x="10863932" y="1337970"/>
                <a:ext cx="600198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D278A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55" name="TextBox 354">
              <a:extLst>
                <a:ext uri="{FF2B5EF4-FFF2-40B4-BE49-F238E27FC236}">
                  <a16:creationId xmlns:a16="http://schemas.microsoft.com/office/drawing/2014/main" id="{5220DE49-C89C-774B-AD1A-2BE0625EF69F}"/>
                </a:ext>
              </a:extLst>
            </p:cNvPr>
            <p:cNvSpPr txBox="1"/>
            <p:nvPr/>
          </p:nvSpPr>
          <p:spPr>
            <a:xfrm>
              <a:off x="10859417" y="1453467"/>
              <a:ext cx="61676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Canada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84EBE29-3C64-4D9F-8B1A-5C0A29A15891}"/>
              </a:ext>
            </a:extLst>
          </p:cNvPr>
          <p:cNvGrpSpPr/>
          <p:nvPr/>
        </p:nvGrpSpPr>
        <p:grpSpPr>
          <a:xfrm>
            <a:off x="3362426" y="2754072"/>
            <a:ext cx="616769" cy="673301"/>
            <a:chOff x="10859417" y="941706"/>
            <a:chExt cx="616769" cy="665058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7A53AF93-9519-458C-AC6C-55FC9D5608A5}"/>
                </a:ext>
              </a:extLst>
            </p:cNvPr>
            <p:cNvGrpSpPr/>
            <p:nvPr/>
          </p:nvGrpSpPr>
          <p:grpSpPr>
            <a:xfrm>
              <a:off x="10863932" y="941706"/>
              <a:ext cx="600198" cy="627112"/>
              <a:chOff x="10863932" y="941706"/>
              <a:chExt cx="600198" cy="627112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0644AD0C-DE1C-43AA-946C-10C72E5A5886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98" name="Oval 97">
                  <a:extLst>
                    <a:ext uri="{FF2B5EF4-FFF2-40B4-BE49-F238E27FC236}">
                      <a16:creationId xmlns:a16="http://schemas.microsoft.com/office/drawing/2014/main" id="{1031EB5B-32A1-4D93-9DF7-49736C24342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Oval 98">
                  <a:extLst>
                    <a:ext uri="{FF2B5EF4-FFF2-40B4-BE49-F238E27FC236}">
                      <a16:creationId xmlns:a16="http://schemas.microsoft.com/office/drawing/2014/main" id="{B81B06B4-3572-4A4E-9759-75D1B7844E2D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0" name="Group 24">
                  <a:extLst>
                    <a:ext uri="{FF2B5EF4-FFF2-40B4-BE49-F238E27FC236}">
                      <a16:creationId xmlns:a16="http://schemas.microsoft.com/office/drawing/2014/main" id="{35F6817A-105D-48C2-A863-168FB325EB7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101" name="Freeform 25">
                    <a:extLst>
                      <a:ext uri="{FF2B5EF4-FFF2-40B4-BE49-F238E27FC236}">
                        <a16:creationId xmlns:a16="http://schemas.microsoft.com/office/drawing/2014/main" id="{1667DFCF-6AA2-4B0D-912E-657B7519C6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Freeform 26">
                    <a:extLst>
                      <a:ext uri="{FF2B5EF4-FFF2-40B4-BE49-F238E27FC236}">
                        <a16:creationId xmlns:a16="http://schemas.microsoft.com/office/drawing/2014/main" id="{1840FB0A-9F0D-45F5-B1FA-21C0499492E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3" name="Freeform 27">
                    <a:extLst>
                      <a:ext uri="{FF2B5EF4-FFF2-40B4-BE49-F238E27FC236}">
                        <a16:creationId xmlns:a16="http://schemas.microsoft.com/office/drawing/2014/main" id="{D9771613-4524-4EB2-9CB9-6EFE425C67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97" name="Freeform 523">
                <a:extLst>
                  <a:ext uri="{FF2B5EF4-FFF2-40B4-BE49-F238E27FC236}">
                    <a16:creationId xmlns:a16="http://schemas.microsoft.com/office/drawing/2014/main" id="{20A9614C-36D2-4E33-838C-A313879ED2FF}"/>
                  </a:ext>
                </a:extLst>
              </p:cNvPr>
              <p:cNvSpPr/>
              <p:nvPr/>
            </p:nvSpPr>
            <p:spPr>
              <a:xfrm>
                <a:off x="10863932" y="1337970"/>
                <a:ext cx="600198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5C9E75B-99ED-48E9-A568-6CD2865F09AE}"/>
                </a:ext>
              </a:extLst>
            </p:cNvPr>
            <p:cNvSpPr txBox="1"/>
            <p:nvPr/>
          </p:nvSpPr>
          <p:spPr>
            <a:xfrm>
              <a:off x="10859417" y="1452876"/>
              <a:ext cx="61676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US</a:t>
              </a:r>
            </a:p>
          </p:txBody>
        </p:sp>
      </p:grpSp>
      <p:grpSp>
        <p:nvGrpSpPr>
          <p:cNvPr id="372" name="Group 371">
            <a:extLst>
              <a:ext uri="{FF2B5EF4-FFF2-40B4-BE49-F238E27FC236}">
                <a16:creationId xmlns:a16="http://schemas.microsoft.com/office/drawing/2014/main" id="{50540A40-71C4-C248-93D0-1AB724674817}"/>
              </a:ext>
            </a:extLst>
          </p:cNvPr>
          <p:cNvGrpSpPr/>
          <p:nvPr/>
        </p:nvGrpSpPr>
        <p:grpSpPr>
          <a:xfrm>
            <a:off x="6891012" y="3148181"/>
            <a:ext cx="530752" cy="662112"/>
            <a:chOff x="10904873" y="941706"/>
            <a:chExt cx="530752" cy="662112"/>
          </a:xfrm>
        </p:grpSpPr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90FCD93-5370-3641-ACCD-0666EB58B927}"/>
                </a:ext>
              </a:extLst>
            </p:cNvPr>
            <p:cNvGrpSpPr/>
            <p:nvPr/>
          </p:nvGrpSpPr>
          <p:grpSpPr>
            <a:xfrm>
              <a:off x="10904873" y="941706"/>
              <a:ext cx="513496" cy="627112"/>
              <a:chOff x="10904873" y="941706"/>
              <a:chExt cx="513496" cy="627112"/>
            </a:xfrm>
          </p:grpSpPr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03B17AEF-171A-E44F-9DA8-D4A025C7F65B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377" name="Oval 376">
                  <a:extLst>
                    <a:ext uri="{FF2B5EF4-FFF2-40B4-BE49-F238E27FC236}">
                      <a16:creationId xmlns:a16="http://schemas.microsoft.com/office/drawing/2014/main" id="{C92DB7FE-49E8-B14F-A5CC-6EA3A22E4C2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8" name="Oval 377">
                  <a:extLst>
                    <a:ext uri="{FF2B5EF4-FFF2-40B4-BE49-F238E27FC236}">
                      <a16:creationId xmlns:a16="http://schemas.microsoft.com/office/drawing/2014/main" id="{712475D4-5C62-A54D-B0F5-044FFE176514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rgbClr val="D6D479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79" name="Group 24">
                  <a:extLst>
                    <a:ext uri="{FF2B5EF4-FFF2-40B4-BE49-F238E27FC236}">
                      <a16:creationId xmlns:a16="http://schemas.microsoft.com/office/drawing/2014/main" id="{BC43317D-7461-9448-B8FE-F3533C6F304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380" name="Freeform 25">
                    <a:extLst>
                      <a:ext uri="{FF2B5EF4-FFF2-40B4-BE49-F238E27FC236}">
                        <a16:creationId xmlns:a16="http://schemas.microsoft.com/office/drawing/2014/main" id="{3C8DA175-4FEC-E743-A28E-4326D67662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81" name="Freeform 26">
                    <a:extLst>
                      <a:ext uri="{FF2B5EF4-FFF2-40B4-BE49-F238E27FC236}">
                        <a16:creationId xmlns:a16="http://schemas.microsoft.com/office/drawing/2014/main" id="{FE35D066-62E0-3548-86FC-25BDE9FE8FD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82" name="Freeform 27">
                    <a:extLst>
                      <a:ext uri="{FF2B5EF4-FFF2-40B4-BE49-F238E27FC236}">
                        <a16:creationId xmlns:a16="http://schemas.microsoft.com/office/drawing/2014/main" id="{44B4EAED-18B2-4E47-9865-0AD565EB1A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376" name="Freeform 428">
                <a:extLst>
                  <a:ext uri="{FF2B5EF4-FFF2-40B4-BE49-F238E27FC236}">
                    <a16:creationId xmlns:a16="http://schemas.microsoft.com/office/drawing/2014/main" id="{012B8AAF-15BF-3A42-B595-3AC056F94A69}"/>
                  </a:ext>
                </a:extLst>
              </p:cNvPr>
              <p:cNvSpPr/>
              <p:nvPr/>
            </p:nvSpPr>
            <p:spPr>
              <a:xfrm>
                <a:off x="10904873" y="1337970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D6D47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0526DB1D-DC90-F84C-B9E1-B1A4B5290BC6}"/>
                </a:ext>
              </a:extLst>
            </p:cNvPr>
            <p:cNvSpPr txBox="1"/>
            <p:nvPr/>
          </p:nvSpPr>
          <p:spPr>
            <a:xfrm>
              <a:off x="10907874" y="1449930"/>
              <a:ext cx="5277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Israel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3A057C9F-BD39-964A-9029-E02C0E933B8B}"/>
              </a:ext>
            </a:extLst>
          </p:cNvPr>
          <p:cNvGrpSpPr/>
          <p:nvPr/>
        </p:nvGrpSpPr>
        <p:grpSpPr>
          <a:xfrm>
            <a:off x="9680501" y="3941704"/>
            <a:ext cx="513496" cy="628566"/>
            <a:chOff x="11214315" y="2612180"/>
            <a:chExt cx="513496" cy="628566"/>
          </a:xfrm>
        </p:grpSpPr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EAE31CDF-7761-4B4D-A6B8-BFB9C06496DA}"/>
                </a:ext>
              </a:extLst>
            </p:cNvPr>
            <p:cNvGrpSpPr/>
            <p:nvPr/>
          </p:nvGrpSpPr>
          <p:grpSpPr>
            <a:xfrm>
              <a:off x="11214315" y="2612180"/>
              <a:ext cx="513496" cy="628566"/>
              <a:chOff x="11214315" y="2612180"/>
              <a:chExt cx="513496" cy="628566"/>
            </a:xfrm>
          </p:grpSpPr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2E380F1D-5513-A348-A6D5-5C173D99BF0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274687" y="2612180"/>
                <a:ext cx="392753" cy="392753"/>
              </a:xfrm>
              <a:prstGeom prst="ellipse">
                <a:avLst/>
              </a:prstGeom>
              <a:solidFill>
                <a:schemeClr val="bg1">
                  <a:lumMod val="85000"/>
                  <a:alpha val="76000"/>
                </a:schemeClr>
              </a:solidFill>
              <a:ln w="381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CR" sz="2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D332C9B4-FDAD-0441-ABE3-F48E2D369A60}"/>
                  </a:ext>
                </a:extLst>
              </p:cNvPr>
              <p:cNvSpPr/>
              <p:nvPr/>
            </p:nvSpPr>
            <p:spPr>
              <a:xfrm>
                <a:off x="11320420" y="2657914"/>
                <a:ext cx="301287" cy="301287"/>
              </a:xfrm>
              <a:prstGeom prst="ellipse">
                <a:avLst/>
              </a:prstGeom>
              <a:solidFill>
                <a:srgbClr val="8D9A3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bIns="0" rtlCol="0" anchor="b"/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CR" sz="400" b="1" spc="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97" name="Group 24">
                <a:extLst>
                  <a:ext uri="{FF2B5EF4-FFF2-40B4-BE49-F238E27FC236}">
                    <a16:creationId xmlns:a16="http://schemas.microsoft.com/office/drawing/2014/main" id="{13E36F64-1873-004F-9EF2-E6D4525F811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1368521" y="2710840"/>
                <a:ext cx="205084" cy="195436"/>
                <a:chOff x="3" y="2"/>
                <a:chExt cx="1424" cy="1357"/>
              </a:xfrm>
              <a:solidFill>
                <a:schemeClr val="bg1"/>
              </a:solidFill>
            </p:grpSpPr>
            <p:sp>
              <p:nvSpPr>
                <p:cNvPr id="299" name="Freeform 25">
                  <a:extLst>
                    <a:ext uri="{FF2B5EF4-FFF2-40B4-BE49-F238E27FC236}">
                      <a16:creationId xmlns:a16="http://schemas.microsoft.com/office/drawing/2014/main" id="{7750BD5A-F33A-5B4E-A486-D3948DBE79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" y="529"/>
                  <a:ext cx="201" cy="201"/>
                </a:xfrm>
                <a:custGeom>
                  <a:avLst/>
                  <a:gdLst>
                    <a:gd name="T0" fmla="*/ 0 w 201"/>
                    <a:gd name="T1" fmla="*/ 168 h 201"/>
                    <a:gd name="T2" fmla="*/ 166 w 201"/>
                    <a:gd name="T3" fmla="*/ 0 h 201"/>
                    <a:gd name="T4" fmla="*/ 201 w 201"/>
                    <a:gd name="T5" fmla="*/ 33 h 201"/>
                    <a:gd name="T6" fmla="*/ 33 w 201"/>
                    <a:gd name="T7" fmla="*/ 201 h 201"/>
                    <a:gd name="T8" fmla="*/ 0 w 201"/>
                    <a:gd name="T9" fmla="*/ 168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1" h="201">
                      <a:moveTo>
                        <a:pt x="0" y="168"/>
                      </a:moveTo>
                      <a:lnTo>
                        <a:pt x="166" y="0"/>
                      </a:lnTo>
                      <a:lnTo>
                        <a:pt x="201" y="33"/>
                      </a:lnTo>
                      <a:lnTo>
                        <a:pt x="33" y="201"/>
                      </a:lnTo>
                      <a:lnTo>
                        <a:pt x="0" y="1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0" name="Freeform 26">
                  <a:extLst>
                    <a:ext uri="{FF2B5EF4-FFF2-40B4-BE49-F238E27FC236}">
                      <a16:creationId xmlns:a16="http://schemas.microsoft.com/office/drawing/2014/main" id="{D8F4695F-0F10-DD4D-86A6-D83815B30B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" y="2"/>
                  <a:ext cx="1303" cy="1357"/>
                </a:xfrm>
                <a:custGeom>
                  <a:avLst/>
                  <a:gdLst>
                    <a:gd name="T0" fmla="*/ 502 w 636"/>
                    <a:gd name="T1" fmla="*/ 275 h 662"/>
                    <a:gd name="T2" fmla="*/ 566 w 636"/>
                    <a:gd name="T3" fmla="*/ 215 h 662"/>
                    <a:gd name="T4" fmla="*/ 509 w 636"/>
                    <a:gd name="T5" fmla="*/ 239 h 662"/>
                    <a:gd name="T6" fmla="*/ 309 w 636"/>
                    <a:gd name="T7" fmla="*/ 222 h 662"/>
                    <a:gd name="T8" fmla="*/ 262 w 636"/>
                    <a:gd name="T9" fmla="*/ 249 h 662"/>
                    <a:gd name="T10" fmla="*/ 300 w 636"/>
                    <a:gd name="T11" fmla="*/ 106 h 662"/>
                    <a:gd name="T12" fmla="*/ 478 w 636"/>
                    <a:gd name="T13" fmla="*/ 90 h 662"/>
                    <a:gd name="T14" fmla="*/ 566 w 636"/>
                    <a:gd name="T15" fmla="*/ 16 h 662"/>
                    <a:gd name="T16" fmla="*/ 487 w 636"/>
                    <a:gd name="T17" fmla="*/ 63 h 662"/>
                    <a:gd name="T18" fmla="*/ 340 w 636"/>
                    <a:gd name="T19" fmla="*/ 66 h 662"/>
                    <a:gd name="T20" fmla="*/ 118 w 636"/>
                    <a:gd name="T21" fmla="*/ 245 h 662"/>
                    <a:gd name="T22" fmla="*/ 117 w 636"/>
                    <a:gd name="T23" fmla="*/ 262 h 662"/>
                    <a:gd name="T24" fmla="*/ 300 w 636"/>
                    <a:gd name="T25" fmla="*/ 246 h 662"/>
                    <a:gd name="T26" fmla="*/ 481 w 636"/>
                    <a:gd name="T27" fmla="*/ 286 h 662"/>
                    <a:gd name="T28" fmla="*/ 602 w 636"/>
                    <a:gd name="T29" fmla="*/ 450 h 662"/>
                    <a:gd name="T30" fmla="*/ 531 w 636"/>
                    <a:gd name="T31" fmla="*/ 421 h 662"/>
                    <a:gd name="T32" fmla="*/ 544 w 636"/>
                    <a:gd name="T33" fmla="*/ 466 h 662"/>
                    <a:gd name="T34" fmla="*/ 502 w 636"/>
                    <a:gd name="T35" fmla="*/ 508 h 662"/>
                    <a:gd name="T36" fmla="*/ 456 w 636"/>
                    <a:gd name="T37" fmla="*/ 496 h 662"/>
                    <a:gd name="T38" fmla="*/ 486 w 636"/>
                    <a:gd name="T39" fmla="*/ 567 h 662"/>
                    <a:gd name="T40" fmla="*/ 414 w 636"/>
                    <a:gd name="T41" fmla="*/ 537 h 662"/>
                    <a:gd name="T42" fmla="*/ 427 w 636"/>
                    <a:gd name="T43" fmla="*/ 583 h 662"/>
                    <a:gd name="T44" fmla="*/ 385 w 636"/>
                    <a:gd name="T45" fmla="*/ 625 h 662"/>
                    <a:gd name="T46" fmla="*/ 360 w 636"/>
                    <a:gd name="T47" fmla="*/ 530 h 662"/>
                    <a:gd name="T48" fmla="*/ 273 w 636"/>
                    <a:gd name="T49" fmla="*/ 458 h 662"/>
                    <a:gd name="T50" fmla="*/ 214 w 636"/>
                    <a:gd name="T51" fmla="*/ 400 h 662"/>
                    <a:gd name="T52" fmla="*/ 156 w 636"/>
                    <a:gd name="T53" fmla="*/ 341 h 662"/>
                    <a:gd name="T54" fmla="*/ 17 w 636"/>
                    <a:gd name="T55" fmla="*/ 257 h 662"/>
                    <a:gd name="T56" fmla="*/ 97 w 636"/>
                    <a:gd name="T57" fmla="*/ 370 h 662"/>
                    <a:gd name="T58" fmla="*/ 76 w 636"/>
                    <a:gd name="T59" fmla="*/ 466 h 662"/>
                    <a:gd name="T60" fmla="*/ 120 w 636"/>
                    <a:gd name="T61" fmla="*/ 481 h 662"/>
                    <a:gd name="T62" fmla="*/ 172 w 636"/>
                    <a:gd name="T63" fmla="*/ 540 h 662"/>
                    <a:gd name="T64" fmla="*/ 224 w 636"/>
                    <a:gd name="T65" fmla="*/ 598 h 662"/>
                    <a:gd name="T66" fmla="*/ 237 w 636"/>
                    <a:gd name="T67" fmla="*/ 598 h 662"/>
                    <a:gd name="T68" fmla="*/ 327 w 636"/>
                    <a:gd name="T69" fmla="*/ 642 h 662"/>
                    <a:gd name="T70" fmla="*/ 369 w 636"/>
                    <a:gd name="T71" fmla="*/ 642 h 662"/>
                    <a:gd name="T72" fmla="*/ 459 w 636"/>
                    <a:gd name="T73" fmla="*/ 598 h 662"/>
                    <a:gd name="T74" fmla="*/ 517 w 636"/>
                    <a:gd name="T75" fmla="*/ 540 h 662"/>
                    <a:gd name="T76" fmla="*/ 576 w 636"/>
                    <a:gd name="T77" fmla="*/ 481 h 662"/>
                    <a:gd name="T78" fmla="*/ 619 w 636"/>
                    <a:gd name="T79" fmla="*/ 391 h 662"/>
                    <a:gd name="T80" fmla="*/ 93 w 636"/>
                    <a:gd name="T81" fmla="*/ 450 h 662"/>
                    <a:gd name="T82" fmla="*/ 128 w 636"/>
                    <a:gd name="T83" fmla="*/ 373 h 662"/>
                    <a:gd name="T84" fmla="*/ 170 w 636"/>
                    <a:gd name="T85" fmla="*/ 415 h 662"/>
                    <a:gd name="T86" fmla="*/ 193 w 636"/>
                    <a:gd name="T87" fmla="*/ 508 h 662"/>
                    <a:gd name="T88" fmla="*/ 151 w 636"/>
                    <a:gd name="T89" fmla="*/ 466 h 662"/>
                    <a:gd name="T90" fmla="*/ 228 w 636"/>
                    <a:gd name="T91" fmla="*/ 432 h 662"/>
                    <a:gd name="T92" fmla="*/ 193 w 636"/>
                    <a:gd name="T93" fmla="*/ 508 h 662"/>
                    <a:gd name="T94" fmla="*/ 210 w 636"/>
                    <a:gd name="T95" fmla="*/ 525 h 662"/>
                    <a:gd name="T96" fmla="*/ 287 w 636"/>
                    <a:gd name="T97" fmla="*/ 490 h 662"/>
                    <a:gd name="T98" fmla="*/ 252 w 636"/>
                    <a:gd name="T99" fmla="*/ 567 h 662"/>
                    <a:gd name="T100" fmla="*/ 345 w 636"/>
                    <a:gd name="T101" fmla="*/ 590 h 662"/>
                    <a:gd name="T102" fmla="*/ 268 w 636"/>
                    <a:gd name="T103" fmla="*/ 624 h 662"/>
                    <a:gd name="T104" fmla="*/ 303 w 636"/>
                    <a:gd name="T105" fmla="*/ 548 h 662"/>
                    <a:gd name="T106" fmla="*/ 345 w 636"/>
                    <a:gd name="T107" fmla="*/ 590 h 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6" h="662">
                      <a:moveTo>
                        <a:pt x="619" y="391"/>
                      </a:moveTo>
                      <a:cubicBezTo>
                        <a:pt x="502" y="275"/>
                        <a:pt x="502" y="275"/>
                        <a:pt x="502" y="275"/>
                      </a:cubicBezTo>
                      <a:cubicBezTo>
                        <a:pt x="511" y="269"/>
                        <a:pt x="518" y="263"/>
                        <a:pt x="525" y="256"/>
                      </a:cubicBezTo>
                      <a:cubicBezTo>
                        <a:pt x="566" y="215"/>
                        <a:pt x="566" y="215"/>
                        <a:pt x="566" y="215"/>
                      </a:cubicBezTo>
                      <a:cubicBezTo>
                        <a:pt x="550" y="198"/>
                        <a:pt x="550" y="198"/>
                        <a:pt x="550" y="198"/>
                      </a:cubicBezTo>
                      <a:cubicBezTo>
                        <a:pt x="509" y="239"/>
                        <a:pt x="509" y="239"/>
                        <a:pt x="509" y="239"/>
                      </a:cubicBezTo>
                      <a:cubicBezTo>
                        <a:pt x="459" y="290"/>
                        <a:pt x="377" y="290"/>
                        <a:pt x="327" y="239"/>
                      </a:cubicBezTo>
                      <a:cubicBezTo>
                        <a:pt x="309" y="222"/>
                        <a:pt x="309" y="222"/>
                        <a:pt x="309" y="222"/>
                      </a:cubicBezTo>
                      <a:cubicBezTo>
                        <a:pt x="305" y="217"/>
                        <a:pt x="298" y="217"/>
                        <a:pt x="293" y="221"/>
                      </a:cubicBezTo>
                      <a:cubicBezTo>
                        <a:pt x="262" y="249"/>
                        <a:pt x="262" y="249"/>
                        <a:pt x="262" y="249"/>
                      </a:cubicBezTo>
                      <a:cubicBezTo>
                        <a:pt x="228" y="279"/>
                        <a:pt x="179" y="280"/>
                        <a:pt x="143" y="253"/>
                      </a:cubicBezTo>
                      <a:cubicBezTo>
                        <a:pt x="300" y="106"/>
                        <a:pt x="300" y="106"/>
                        <a:pt x="300" y="106"/>
                      </a:cubicBezTo>
                      <a:cubicBezTo>
                        <a:pt x="311" y="95"/>
                        <a:pt x="325" y="90"/>
                        <a:pt x="340" y="90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88" y="90"/>
                        <a:pt x="497" y="86"/>
                        <a:pt x="503" y="79"/>
                      </a:cubicBezTo>
                      <a:cubicBezTo>
                        <a:pt x="566" y="16"/>
                        <a:pt x="566" y="16"/>
                        <a:pt x="566" y="16"/>
                      </a:cubicBezTo>
                      <a:cubicBezTo>
                        <a:pt x="550" y="0"/>
                        <a:pt x="550" y="0"/>
                        <a:pt x="550" y="0"/>
                      </a:cubicBezTo>
                      <a:cubicBezTo>
                        <a:pt x="487" y="63"/>
                        <a:pt x="487" y="63"/>
                        <a:pt x="487" y="63"/>
                      </a:cubicBezTo>
                      <a:cubicBezTo>
                        <a:pt x="484" y="65"/>
                        <a:pt x="481" y="66"/>
                        <a:pt x="478" y="66"/>
                      </a:cubicBezTo>
                      <a:cubicBezTo>
                        <a:pt x="340" y="66"/>
                        <a:pt x="340" y="66"/>
                        <a:pt x="340" y="66"/>
                      </a:cubicBezTo>
                      <a:cubicBezTo>
                        <a:pt x="320" y="66"/>
                        <a:pt x="299" y="74"/>
                        <a:pt x="284" y="88"/>
                      </a:cubicBezTo>
                      <a:cubicBezTo>
                        <a:pt x="118" y="245"/>
                        <a:pt x="118" y="245"/>
                        <a:pt x="118" y="245"/>
                      </a:cubicBezTo>
                      <a:cubicBezTo>
                        <a:pt x="113" y="249"/>
                        <a:pt x="113" y="257"/>
                        <a:pt x="117" y="261"/>
                      </a:cubicBezTo>
                      <a:cubicBezTo>
                        <a:pt x="117" y="261"/>
                        <a:pt x="117" y="262"/>
                        <a:pt x="117" y="262"/>
                      </a:cubicBezTo>
                      <a:cubicBezTo>
                        <a:pt x="161" y="305"/>
                        <a:pt x="231" y="307"/>
                        <a:pt x="278" y="266"/>
                      </a:cubicBezTo>
                      <a:cubicBezTo>
                        <a:pt x="300" y="246"/>
                        <a:pt x="300" y="246"/>
                        <a:pt x="300" y="246"/>
                      </a:cubicBezTo>
                      <a:cubicBezTo>
                        <a:pt x="310" y="256"/>
                        <a:pt x="310" y="256"/>
                        <a:pt x="310" y="256"/>
                      </a:cubicBezTo>
                      <a:cubicBezTo>
                        <a:pt x="355" y="301"/>
                        <a:pt x="423" y="313"/>
                        <a:pt x="481" y="286"/>
                      </a:cubicBezTo>
                      <a:cubicBezTo>
                        <a:pt x="602" y="408"/>
                        <a:pt x="602" y="408"/>
                        <a:pt x="602" y="408"/>
                      </a:cubicBezTo>
                      <a:cubicBezTo>
                        <a:pt x="614" y="420"/>
                        <a:pt x="614" y="438"/>
                        <a:pt x="602" y="450"/>
                      </a:cubicBezTo>
                      <a:cubicBezTo>
                        <a:pt x="590" y="461"/>
                        <a:pt x="572" y="461"/>
                        <a:pt x="561" y="450"/>
                      </a:cubicBezTo>
                      <a:cubicBezTo>
                        <a:pt x="531" y="421"/>
                        <a:pt x="531" y="421"/>
                        <a:pt x="531" y="421"/>
                      </a:cubicBezTo>
                      <a:cubicBezTo>
                        <a:pt x="515" y="437"/>
                        <a:pt x="515" y="437"/>
                        <a:pt x="515" y="437"/>
                      </a:cubicBezTo>
                      <a:cubicBezTo>
                        <a:pt x="544" y="466"/>
                        <a:pt x="544" y="466"/>
                        <a:pt x="544" y="466"/>
                      </a:cubicBezTo>
                      <a:cubicBezTo>
                        <a:pt x="556" y="478"/>
                        <a:pt x="556" y="497"/>
                        <a:pt x="544" y="508"/>
                      </a:cubicBezTo>
                      <a:cubicBezTo>
                        <a:pt x="532" y="519"/>
                        <a:pt x="514" y="519"/>
                        <a:pt x="502" y="508"/>
                      </a:cubicBezTo>
                      <a:cubicBezTo>
                        <a:pt x="473" y="479"/>
                        <a:pt x="473" y="479"/>
                        <a:pt x="473" y="479"/>
                      </a:cubicBezTo>
                      <a:cubicBezTo>
                        <a:pt x="456" y="496"/>
                        <a:pt x="456" y="496"/>
                        <a:pt x="456" y="496"/>
                      </a:cubicBezTo>
                      <a:cubicBezTo>
                        <a:pt x="486" y="525"/>
                        <a:pt x="486" y="525"/>
                        <a:pt x="486" y="525"/>
                      </a:cubicBezTo>
                      <a:cubicBezTo>
                        <a:pt x="497" y="536"/>
                        <a:pt x="497" y="555"/>
                        <a:pt x="486" y="567"/>
                      </a:cubicBezTo>
                      <a:cubicBezTo>
                        <a:pt x="474" y="578"/>
                        <a:pt x="455" y="578"/>
                        <a:pt x="444" y="567"/>
                      </a:cubicBezTo>
                      <a:cubicBezTo>
                        <a:pt x="414" y="537"/>
                        <a:pt x="414" y="537"/>
                        <a:pt x="414" y="537"/>
                      </a:cubicBezTo>
                      <a:cubicBezTo>
                        <a:pt x="398" y="554"/>
                        <a:pt x="398" y="554"/>
                        <a:pt x="398" y="554"/>
                      </a:cubicBezTo>
                      <a:cubicBezTo>
                        <a:pt x="427" y="583"/>
                        <a:pt x="427" y="583"/>
                        <a:pt x="427" y="583"/>
                      </a:cubicBezTo>
                      <a:cubicBezTo>
                        <a:pt x="439" y="595"/>
                        <a:pt x="439" y="614"/>
                        <a:pt x="427" y="625"/>
                      </a:cubicBezTo>
                      <a:cubicBezTo>
                        <a:pt x="415" y="636"/>
                        <a:pt x="397" y="636"/>
                        <a:pt x="385" y="625"/>
                      </a:cubicBezTo>
                      <a:cubicBezTo>
                        <a:pt x="364" y="604"/>
                        <a:pt x="364" y="604"/>
                        <a:pt x="364" y="604"/>
                      </a:cubicBezTo>
                      <a:cubicBezTo>
                        <a:pt x="383" y="582"/>
                        <a:pt x="381" y="549"/>
                        <a:pt x="360" y="530"/>
                      </a:cubicBezTo>
                      <a:cubicBezTo>
                        <a:pt x="348" y="520"/>
                        <a:pt x="333" y="515"/>
                        <a:pt x="318" y="517"/>
                      </a:cubicBezTo>
                      <a:cubicBezTo>
                        <a:pt x="322" y="488"/>
                        <a:pt x="301" y="462"/>
                        <a:pt x="273" y="458"/>
                      </a:cubicBezTo>
                      <a:cubicBezTo>
                        <a:pt x="268" y="458"/>
                        <a:pt x="264" y="458"/>
                        <a:pt x="260" y="458"/>
                      </a:cubicBezTo>
                      <a:cubicBezTo>
                        <a:pt x="263" y="429"/>
                        <a:pt x="243" y="403"/>
                        <a:pt x="214" y="400"/>
                      </a:cubicBezTo>
                      <a:cubicBezTo>
                        <a:pt x="210" y="399"/>
                        <a:pt x="206" y="399"/>
                        <a:pt x="201" y="400"/>
                      </a:cubicBezTo>
                      <a:cubicBezTo>
                        <a:pt x="205" y="371"/>
                        <a:pt x="184" y="345"/>
                        <a:pt x="156" y="341"/>
                      </a:cubicBezTo>
                      <a:cubicBezTo>
                        <a:pt x="141" y="339"/>
                        <a:pt x="125" y="344"/>
                        <a:pt x="114" y="354"/>
                      </a:cubicBezTo>
                      <a:cubicBezTo>
                        <a:pt x="17" y="257"/>
                        <a:pt x="17" y="257"/>
                        <a:pt x="17" y="257"/>
                      </a:cubicBezTo>
                      <a:cubicBezTo>
                        <a:pt x="0" y="273"/>
                        <a:pt x="0" y="273"/>
                        <a:pt x="0" y="273"/>
                      </a:cubicBezTo>
                      <a:cubicBezTo>
                        <a:pt x="97" y="370"/>
                        <a:pt x="97" y="370"/>
                        <a:pt x="97" y="370"/>
                      </a:cubicBezTo>
                      <a:cubicBezTo>
                        <a:pt x="76" y="391"/>
                        <a:pt x="76" y="391"/>
                        <a:pt x="76" y="391"/>
                      </a:cubicBezTo>
                      <a:cubicBezTo>
                        <a:pt x="56" y="412"/>
                        <a:pt x="56" y="446"/>
                        <a:pt x="76" y="466"/>
                      </a:cubicBezTo>
                      <a:cubicBezTo>
                        <a:pt x="86" y="476"/>
                        <a:pt x="100" y="482"/>
                        <a:pt x="114" y="482"/>
                      </a:cubicBezTo>
                      <a:cubicBezTo>
                        <a:pt x="116" y="482"/>
                        <a:pt x="118" y="482"/>
                        <a:pt x="120" y="481"/>
                      </a:cubicBezTo>
                      <a:cubicBezTo>
                        <a:pt x="116" y="510"/>
                        <a:pt x="137" y="536"/>
                        <a:pt x="166" y="540"/>
                      </a:cubicBezTo>
                      <a:cubicBezTo>
                        <a:pt x="168" y="540"/>
                        <a:pt x="170" y="540"/>
                        <a:pt x="172" y="540"/>
                      </a:cubicBezTo>
                      <a:cubicBezTo>
                        <a:pt x="174" y="540"/>
                        <a:pt x="176" y="540"/>
                        <a:pt x="178" y="540"/>
                      </a:cubicBezTo>
                      <a:cubicBezTo>
                        <a:pt x="175" y="568"/>
                        <a:pt x="195" y="595"/>
                        <a:pt x="224" y="598"/>
                      </a:cubicBezTo>
                      <a:cubicBezTo>
                        <a:pt x="226" y="599"/>
                        <a:pt x="229" y="599"/>
                        <a:pt x="231" y="599"/>
                      </a:cubicBezTo>
                      <a:cubicBezTo>
                        <a:pt x="233" y="599"/>
                        <a:pt x="235" y="598"/>
                        <a:pt x="237" y="598"/>
                      </a:cubicBezTo>
                      <a:cubicBezTo>
                        <a:pt x="233" y="627"/>
                        <a:pt x="254" y="653"/>
                        <a:pt x="283" y="657"/>
                      </a:cubicBezTo>
                      <a:cubicBezTo>
                        <a:pt x="299" y="659"/>
                        <a:pt x="315" y="653"/>
                        <a:pt x="327" y="642"/>
                      </a:cubicBezTo>
                      <a:cubicBezTo>
                        <a:pt x="348" y="621"/>
                        <a:pt x="348" y="621"/>
                        <a:pt x="348" y="621"/>
                      </a:cubicBezTo>
                      <a:cubicBezTo>
                        <a:pt x="369" y="642"/>
                        <a:pt x="369" y="642"/>
                        <a:pt x="369" y="642"/>
                      </a:cubicBezTo>
                      <a:cubicBezTo>
                        <a:pt x="389" y="662"/>
                        <a:pt x="423" y="662"/>
                        <a:pt x="444" y="642"/>
                      </a:cubicBezTo>
                      <a:cubicBezTo>
                        <a:pt x="455" y="630"/>
                        <a:pt x="461" y="614"/>
                        <a:pt x="459" y="598"/>
                      </a:cubicBezTo>
                      <a:cubicBezTo>
                        <a:pt x="488" y="602"/>
                        <a:pt x="514" y="581"/>
                        <a:pt x="517" y="552"/>
                      </a:cubicBezTo>
                      <a:cubicBezTo>
                        <a:pt x="518" y="548"/>
                        <a:pt x="518" y="544"/>
                        <a:pt x="517" y="540"/>
                      </a:cubicBezTo>
                      <a:cubicBezTo>
                        <a:pt x="546" y="543"/>
                        <a:pt x="573" y="522"/>
                        <a:pt x="576" y="493"/>
                      </a:cubicBezTo>
                      <a:cubicBezTo>
                        <a:pt x="576" y="489"/>
                        <a:pt x="576" y="485"/>
                        <a:pt x="576" y="481"/>
                      </a:cubicBezTo>
                      <a:cubicBezTo>
                        <a:pt x="605" y="485"/>
                        <a:pt x="631" y="464"/>
                        <a:pt x="634" y="435"/>
                      </a:cubicBezTo>
                      <a:cubicBezTo>
                        <a:pt x="636" y="419"/>
                        <a:pt x="630" y="403"/>
                        <a:pt x="619" y="391"/>
                      </a:cubicBezTo>
                      <a:close/>
                      <a:moveTo>
                        <a:pt x="135" y="450"/>
                      </a:moveTo>
                      <a:cubicBezTo>
                        <a:pt x="123" y="461"/>
                        <a:pt x="104" y="461"/>
                        <a:pt x="93" y="450"/>
                      </a:cubicBezTo>
                      <a:cubicBezTo>
                        <a:pt x="81" y="438"/>
                        <a:pt x="81" y="419"/>
                        <a:pt x="93" y="408"/>
                      </a:cubicBezTo>
                      <a:cubicBezTo>
                        <a:pt x="128" y="373"/>
                        <a:pt x="128" y="373"/>
                        <a:pt x="128" y="373"/>
                      </a:cubicBezTo>
                      <a:cubicBezTo>
                        <a:pt x="140" y="361"/>
                        <a:pt x="158" y="362"/>
                        <a:pt x="170" y="373"/>
                      </a:cubicBezTo>
                      <a:cubicBezTo>
                        <a:pt x="181" y="385"/>
                        <a:pt x="181" y="403"/>
                        <a:pt x="170" y="415"/>
                      </a:cubicBezTo>
                      <a:lnTo>
                        <a:pt x="135" y="450"/>
                      </a:lnTo>
                      <a:close/>
                      <a:moveTo>
                        <a:pt x="193" y="508"/>
                      </a:moveTo>
                      <a:cubicBezTo>
                        <a:pt x="182" y="520"/>
                        <a:pt x="163" y="520"/>
                        <a:pt x="151" y="508"/>
                      </a:cubicBezTo>
                      <a:cubicBezTo>
                        <a:pt x="140" y="497"/>
                        <a:pt x="140" y="478"/>
                        <a:pt x="151" y="466"/>
                      </a:cubicBezTo>
                      <a:cubicBezTo>
                        <a:pt x="186" y="431"/>
                        <a:pt x="186" y="431"/>
                        <a:pt x="186" y="431"/>
                      </a:cubicBezTo>
                      <a:cubicBezTo>
                        <a:pt x="198" y="420"/>
                        <a:pt x="217" y="420"/>
                        <a:pt x="228" y="432"/>
                      </a:cubicBezTo>
                      <a:cubicBezTo>
                        <a:pt x="239" y="443"/>
                        <a:pt x="239" y="462"/>
                        <a:pt x="228" y="473"/>
                      </a:cubicBezTo>
                      <a:lnTo>
                        <a:pt x="193" y="508"/>
                      </a:lnTo>
                      <a:close/>
                      <a:moveTo>
                        <a:pt x="210" y="567"/>
                      </a:moveTo>
                      <a:cubicBezTo>
                        <a:pt x="198" y="555"/>
                        <a:pt x="198" y="536"/>
                        <a:pt x="210" y="525"/>
                      </a:cubicBezTo>
                      <a:cubicBezTo>
                        <a:pt x="245" y="490"/>
                        <a:pt x="245" y="490"/>
                        <a:pt x="245" y="490"/>
                      </a:cubicBezTo>
                      <a:cubicBezTo>
                        <a:pt x="257" y="478"/>
                        <a:pt x="275" y="479"/>
                        <a:pt x="287" y="490"/>
                      </a:cubicBezTo>
                      <a:cubicBezTo>
                        <a:pt x="298" y="502"/>
                        <a:pt x="298" y="520"/>
                        <a:pt x="287" y="532"/>
                      </a:cubicBezTo>
                      <a:cubicBezTo>
                        <a:pt x="252" y="567"/>
                        <a:pt x="252" y="567"/>
                        <a:pt x="252" y="567"/>
                      </a:cubicBezTo>
                      <a:cubicBezTo>
                        <a:pt x="240" y="578"/>
                        <a:pt x="221" y="578"/>
                        <a:pt x="210" y="567"/>
                      </a:cubicBezTo>
                      <a:close/>
                      <a:moveTo>
                        <a:pt x="345" y="590"/>
                      </a:moveTo>
                      <a:cubicBezTo>
                        <a:pt x="310" y="625"/>
                        <a:pt x="310" y="625"/>
                        <a:pt x="310" y="625"/>
                      </a:cubicBezTo>
                      <a:cubicBezTo>
                        <a:pt x="298" y="637"/>
                        <a:pt x="280" y="636"/>
                        <a:pt x="268" y="624"/>
                      </a:cubicBezTo>
                      <a:cubicBezTo>
                        <a:pt x="257" y="613"/>
                        <a:pt x="257" y="595"/>
                        <a:pt x="268" y="583"/>
                      </a:cubicBezTo>
                      <a:cubicBezTo>
                        <a:pt x="303" y="548"/>
                        <a:pt x="303" y="548"/>
                        <a:pt x="303" y="548"/>
                      </a:cubicBezTo>
                      <a:cubicBezTo>
                        <a:pt x="315" y="537"/>
                        <a:pt x="334" y="537"/>
                        <a:pt x="345" y="549"/>
                      </a:cubicBezTo>
                      <a:cubicBezTo>
                        <a:pt x="356" y="560"/>
                        <a:pt x="356" y="579"/>
                        <a:pt x="345" y="5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1" name="Freeform 27">
                  <a:extLst>
                    <a:ext uri="{FF2B5EF4-FFF2-40B4-BE49-F238E27FC236}">
                      <a16:creationId xmlns:a16="http://schemas.microsoft.com/office/drawing/2014/main" id="{08C27DD8-F8EF-6C4E-A0DB-ED549B7667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" y="2"/>
                  <a:ext cx="256" cy="185"/>
                </a:xfrm>
                <a:custGeom>
                  <a:avLst/>
                  <a:gdLst>
                    <a:gd name="T0" fmla="*/ 88 w 125"/>
                    <a:gd name="T1" fmla="*/ 66 h 90"/>
                    <a:gd name="T2" fmla="*/ 80 w 125"/>
                    <a:gd name="T3" fmla="*/ 63 h 90"/>
                    <a:gd name="T4" fmla="*/ 16 w 125"/>
                    <a:gd name="T5" fmla="*/ 0 h 90"/>
                    <a:gd name="T6" fmla="*/ 0 w 125"/>
                    <a:gd name="T7" fmla="*/ 16 h 90"/>
                    <a:gd name="T8" fmla="*/ 63 w 125"/>
                    <a:gd name="T9" fmla="*/ 79 h 90"/>
                    <a:gd name="T10" fmla="*/ 88 w 125"/>
                    <a:gd name="T11" fmla="*/ 90 h 90"/>
                    <a:gd name="T12" fmla="*/ 125 w 125"/>
                    <a:gd name="T13" fmla="*/ 90 h 90"/>
                    <a:gd name="T14" fmla="*/ 125 w 125"/>
                    <a:gd name="T15" fmla="*/ 66 h 90"/>
                    <a:gd name="T16" fmla="*/ 88 w 125"/>
                    <a:gd name="T17" fmla="*/ 66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5" h="90">
                      <a:moveTo>
                        <a:pt x="88" y="66"/>
                      </a:moveTo>
                      <a:cubicBezTo>
                        <a:pt x="85" y="66"/>
                        <a:pt x="82" y="65"/>
                        <a:pt x="80" y="63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63" y="79"/>
                        <a:pt x="63" y="79"/>
                        <a:pt x="63" y="79"/>
                      </a:cubicBezTo>
                      <a:cubicBezTo>
                        <a:pt x="70" y="86"/>
                        <a:pt x="79" y="90"/>
                        <a:pt x="88" y="90"/>
                      </a:cubicBezTo>
                      <a:cubicBezTo>
                        <a:pt x="125" y="90"/>
                        <a:pt x="125" y="90"/>
                        <a:pt x="125" y="90"/>
                      </a:cubicBezTo>
                      <a:cubicBezTo>
                        <a:pt x="125" y="66"/>
                        <a:pt x="125" y="66"/>
                        <a:pt x="125" y="66"/>
                      </a:cubicBezTo>
                      <a:lnTo>
                        <a:pt x="88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98" name="Freeform 566">
                <a:extLst>
                  <a:ext uri="{FF2B5EF4-FFF2-40B4-BE49-F238E27FC236}">
                    <a16:creationId xmlns:a16="http://schemas.microsoft.com/office/drawing/2014/main" id="{F7C47FD0-1D8B-0E4F-977C-0E95418FE657}"/>
                  </a:ext>
                </a:extLst>
              </p:cNvPr>
              <p:cNvSpPr/>
              <p:nvPr/>
            </p:nvSpPr>
            <p:spPr>
              <a:xfrm>
                <a:off x="11214315" y="3009898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rgbClr val="8D9A33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93C25A5B-C6FB-7443-B49A-C795D62CA2EE}"/>
                </a:ext>
              </a:extLst>
            </p:cNvPr>
            <p:cNvSpPr txBox="1"/>
            <p:nvPr/>
          </p:nvSpPr>
          <p:spPr>
            <a:xfrm>
              <a:off x="11216833" y="3125395"/>
              <a:ext cx="508461" cy="1123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SC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ADA5D04-6588-4EC4-AFCD-7BEF8CF5FD9B}"/>
              </a:ext>
            </a:extLst>
          </p:cNvPr>
          <p:cNvGrpSpPr/>
          <p:nvPr/>
        </p:nvGrpSpPr>
        <p:grpSpPr>
          <a:xfrm>
            <a:off x="8393916" y="3906173"/>
            <a:ext cx="513496" cy="665649"/>
            <a:chOff x="10904873" y="941706"/>
            <a:chExt cx="513496" cy="665649"/>
          </a:xfrm>
        </p:grpSpPr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8C65C6D3-A1F7-4606-B17C-EE1A629A4F8B}"/>
                </a:ext>
              </a:extLst>
            </p:cNvPr>
            <p:cNvGrpSpPr/>
            <p:nvPr/>
          </p:nvGrpSpPr>
          <p:grpSpPr>
            <a:xfrm>
              <a:off x="10904873" y="941706"/>
              <a:ext cx="513496" cy="627112"/>
              <a:chOff x="10904873" y="941706"/>
              <a:chExt cx="513496" cy="627112"/>
            </a:xfrm>
          </p:grpSpPr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0846DFF8-217B-492C-A7D9-42FA5BE578D8}"/>
                  </a:ext>
                </a:extLst>
              </p:cNvPr>
              <p:cNvGrpSpPr/>
              <p:nvPr/>
            </p:nvGrpSpPr>
            <p:grpSpPr>
              <a:xfrm>
                <a:off x="10965245" y="941706"/>
                <a:ext cx="392753" cy="392753"/>
                <a:chOff x="10447405" y="2669040"/>
                <a:chExt cx="392753" cy="392753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CDCBD3D9-1C2A-44F7-BB5D-45FE28970CB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447405" y="2669040"/>
                  <a:ext cx="392753" cy="392753"/>
                </a:xfrm>
                <a:prstGeom prst="ellipse">
                  <a:avLst/>
                </a:prstGeom>
                <a:solidFill>
                  <a:schemeClr val="bg1">
                    <a:lumMod val="85000"/>
                    <a:alpha val="76000"/>
                  </a:schemeClr>
                </a:solidFill>
                <a:ln w="381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20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58F8B33E-1BF1-4C44-8585-6F16E88FDB59}"/>
                    </a:ext>
                  </a:extLst>
                </p:cNvPr>
                <p:cNvSpPr/>
                <p:nvPr/>
              </p:nvSpPr>
              <p:spPr>
                <a:xfrm>
                  <a:off x="10492189" y="2714774"/>
                  <a:ext cx="301287" cy="301287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13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bIns="0" rtlCol="0" anchor="b"/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endParaRPr lang="en-CR" sz="400" b="1" spc="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16" name="Group 24">
                  <a:extLst>
                    <a:ext uri="{FF2B5EF4-FFF2-40B4-BE49-F238E27FC236}">
                      <a16:creationId xmlns:a16="http://schemas.microsoft.com/office/drawing/2014/main" id="{110832C6-28B6-42FB-AF03-D5600A2878F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0539139" y="2767700"/>
                  <a:ext cx="205084" cy="195436"/>
                  <a:chOff x="3" y="2"/>
                  <a:chExt cx="1424" cy="1357"/>
                </a:xfrm>
                <a:solidFill>
                  <a:schemeClr val="bg1"/>
                </a:solidFill>
              </p:grpSpPr>
              <p:sp>
                <p:nvSpPr>
                  <p:cNvPr id="217" name="Freeform 25">
                    <a:extLst>
                      <a:ext uri="{FF2B5EF4-FFF2-40B4-BE49-F238E27FC236}">
                        <a16:creationId xmlns:a16="http://schemas.microsoft.com/office/drawing/2014/main" id="{2E2F32F2-E96B-405B-B0C6-D4CF2C320D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529"/>
                    <a:ext cx="201" cy="201"/>
                  </a:xfrm>
                  <a:custGeom>
                    <a:avLst/>
                    <a:gdLst>
                      <a:gd name="T0" fmla="*/ 0 w 201"/>
                      <a:gd name="T1" fmla="*/ 168 h 201"/>
                      <a:gd name="T2" fmla="*/ 166 w 201"/>
                      <a:gd name="T3" fmla="*/ 0 h 201"/>
                      <a:gd name="T4" fmla="*/ 201 w 201"/>
                      <a:gd name="T5" fmla="*/ 33 h 201"/>
                      <a:gd name="T6" fmla="*/ 33 w 201"/>
                      <a:gd name="T7" fmla="*/ 201 h 201"/>
                      <a:gd name="T8" fmla="*/ 0 w 201"/>
                      <a:gd name="T9" fmla="*/ 168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1" h="201">
                        <a:moveTo>
                          <a:pt x="0" y="168"/>
                        </a:moveTo>
                        <a:lnTo>
                          <a:pt x="166" y="0"/>
                        </a:lnTo>
                        <a:lnTo>
                          <a:pt x="201" y="33"/>
                        </a:lnTo>
                        <a:lnTo>
                          <a:pt x="33" y="201"/>
                        </a:lnTo>
                        <a:lnTo>
                          <a:pt x="0" y="1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18" name="Freeform 26">
                    <a:extLst>
                      <a:ext uri="{FF2B5EF4-FFF2-40B4-BE49-F238E27FC236}">
                        <a16:creationId xmlns:a16="http://schemas.microsoft.com/office/drawing/2014/main" id="{B198D946-E868-4FB1-9B46-4A09965970D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" y="2"/>
                    <a:ext cx="1303" cy="1357"/>
                  </a:xfrm>
                  <a:custGeom>
                    <a:avLst/>
                    <a:gdLst>
                      <a:gd name="T0" fmla="*/ 502 w 636"/>
                      <a:gd name="T1" fmla="*/ 275 h 662"/>
                      <a:gd name="T2" fmla="*/ 566 w 636"/>
                      <a:gd name="T3" fmla="*/ 215 h 662"/>
                      <a:gd name="T4" fmla="*/ 509 w 636"/>
                      <a:gd name="T5" fmla="*/ 239 h 662"/>
                      <a:gd name="T6" fmla="*/ 309 w 636"/>
                      <a:gd name="T7" fmla="*/ 222 h 662"/>
                      <a:gd name="T8" fmla="*/ 262 w 636"/>
                      <a:gd name="T9" fmla="*/ 249 h 662"/>
                      <a:gd name="T10" fmla="*/ 300 w 636"/>
                      <a:gd name="T11" fmla="*/ 106 h 662"/>
                      <a:gd name="T12" fmla="*/ 478 w 636"/>
                      <a:gd name="T13" fmla="*/ 90 h 662"/>
                      <a:gd name="T14" fmla="*/ 566 w 636"/>
                      <a:gd name="T15" fmla="*/ 16 h 662"/>
                      <a:gd name="T16" fmla="*/ 487 w 636"/>
                      <a:gd name="T17" fmla="*/ 63 h 662"/>
                      <a:gd name="T18" fmla="*/ 340 w 636"/>
                      <a:gd name="T19" fmla="*/ 66 h 662"/>
                      <a:gd name="T20" fmla="*/ 118 w 636"/>
                      <a:gd name="T21" fmla="*/ 245 h 662"/>
                      <a:gd name="T22" fmla="*/ 117 w 636"/>
                      <a:gd name="T23" fmla="*/ 262 h 662"/>
                      <a:gd name="T24" fmla="*/ 300 w 636"/>
                      <a:gd name="T25" fmla="*/ 246 h 662"/>
                      <a:gd name="T26" fmla="*/ 481 w 636"/>
                      <a:gd name="T27" fmla="*/ 286 h 662"/>
                      <a:gd name="T28" fmla="*/ 602 w 636"/>
                      <a:gd name="T29" fmla="*/ 450 h 662"/>
                      <a:gd name="T30" fmla="*/ 531 w 636"/>
                      <a:gd name="T31" fmla="*/ 421 h 662"/>
                      <a:gd name="T32" fmla="*/ 544 w 636"/>
                      <a:gd name="T33" fmla="*/ 466 h 662"/>
                      <a:gd name="T34" fmla="*/ 502 w 636"/>
                      <a:gd name="T35" fmla="*/ 508 h 662"/>
                      <a:gd name="T36" fmla="*/ 456 w 636"/>
                      <a:gd name="T37" fmla="*/ 496 h 662"/>
                      <a:gd name="T38" fmla="*/ 486 w 636"/>
                      <a:gd name="T39" fmla="*/ 567 h 662"/>
                      <a:gd name="T40" fmla="*/ 414 w 636"/>
                      <a:gd name="T41" fmla="*/ 537 h 662"/>
                      <a:gd name="T42" fmla="*/ 427 w 636"/>
                      <a:gd name="T43" fmla="*/ 583 h 662"/>
                      <a:gd name="T44" fmla="*/ 385 w 636"/>
                      <a:gd name="T45" fmla="*/ 625 h 662"/>
                      <a:gd name="T46" fmla="*/ 360 w 636"/>
                      <a:gd name="T47" fmla="*/ 530 h 662"/>
                      <a:gd name="T48" fmla="*/ 273 w 636"/>
                      <a:gd name="T49" fmla="*/ 458 h 662"/>
                      <a:gd name="T50" fmla="*/ 214 w 636"/>
                      <a:gd name="T51" fmla="*/ 400 h 662"/>
                      <a:gd name="T52" fmla="*/ 156 w 636"/>
                      <a:gd name="T53" fmla="*/ 341 h 662"/>
                      <a:gd name="T54" fmla="*/ 17 w 636"/>
                      <a:gd name="T55" fmla="*/ 257 h 662"/>
                      <a:gd name="T56" fmla="*/ 97 w 636"/>
                      <a:gd name="T57" fmla="*/ 370 h 662"/>
                      <a:gd name="T58" fmla="*/ 76 w 636"/>
                      <a:gd name="T59" fmla="*/ 466 h 662"/>
                      <a:gd name="T60" fmla="*/ 120 w 636"/>
                      <a:gd name="T61" fmla="*/ 481 h 662"/>
                      <a:gd name="T62" fmla="*/ 172 w 636"/>
                      <a:gd name="T63" fmla="*/ 540 h 662"/>
                      <a:gd name="T64" fmla="*/ 224 w 636"/>
                      <a:gd name="T65" fmla="*/ 598 h 662"/>
                      <a:gd name="T66" fmla="*/ 237 w 636"/>
                      <a:gd name="T67" fmla="*/ 598 h 662"/>
                      <a:gd name="T68" fmla="*/ 327 w 636"/>
                      <a:gd name="T69" fmla="*/ 642 h 662"/>
                      <a:gd name="T70" fmla="*/ 369 w 636"/>
                      <a:gd name="T71" fmla="*/ 642 h 662"/>
                      <a:gd name="T72" fmla="*/ 459 w 636"/>
                      <a:gd name="T73" fmla="*/ 598 h 662"/>
                      <a:gd name="T74" fmla="*/ 517 w 636"/>
                      <a:gd name="T75" fmla="*/ 540 h 662"/>
                      <a:gd name="T76" fmla="*/ 576 w 636"/>
                      <a:gd name="T77" fmla="*/ 481 h 662"/>
                      <a:gd name="T78" fmla="*/ 619 w 636"/>
                      <a:gd name="T79" fmla="*/ 391 h 662"/>
                      <a:gd name="T80" fmla="*/ 93 w 636"/>
                      <a:gd name="T81" fmla="*/ 450 h 662"/>
                      <a:gd name="T82" fmla="*/ 128 w 636"/>
                      <a:gd name="T83" fmla="*/ 373 h 662"/>
                      <a:gd name="T84" fmla="*/ 170 w 636"/>
                      <a:gd name="T85" fmla="*/ 415 h 662"/>
                      <a:gd name="T86" fmla="*/ 193 w 636"/>
                      <a:gd name="T87" fmla="*/ 508 h 662"/>
                      <a:gd name="T88" fmla="*/ 151 w 636"/>
                      <a:gd name="T89" fmla="*/ 466 h 662"/>
                      <a:gd name="T90" fmla="*/ 228 w 636"/>
                      <a:gd name="T91" fmla="*/ 432 h 662"/>
                      <a:gd name="T92" fmla="*/ 193 w 636"/>
                      <a:gd name="T93" fmla="*/ 508 h 662"/>
                      <a:gd name="T94" fmla="*/ 210 w 636"/>
                      <a:gd name="T95" fmla="*/ 525 h 662"/>
                      <a:gd name="T96" fmla="*/ 287 w 636"/>
                      <a:gd name="T97" fmla="*/ 490 h 662"/>
                      <a:gd name="T98" fmla="*/ 252 w 636"/>
                      <a:gd name="T99" fmla="*/ 567 h 662"/>
                      <a:gd name="T100" fmla="*/ 345 w 636"/>
                      <a:gd name="T101" fmla="*/ 590 h 662"/>
                      <a:gd name="T102" fmla="*/ 268 w 636"/>
                      <a:gd name="T103" fmla="*/ 624 h 662"/>
                      <a:gd name="T104" fmla="*/ 303 w 636"/>
                      <a:gd name="T105" fmla="*/ 548 h 662"/>
                      <a:gd name="T106" fmla="*/ 345 w 636"/>
                      <a:gd name="T107" fmla="*/ 590 h 6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36" h="662">
                        <a:moveTo>
                          <a:pt x="619" y="391"/>
                        </a:moveTo>
                        <a:cubicBezTo>
                          <a:pt x="502" y="275"/>
                          <a:pt x="502" y="275"/>
                          <a:pt x="502" y="275"/>
                        </a:cubicBezTo>
                        <a:cubicBezTo>
                          <a:pt x="511" y="269"/>
                          <a:pt x="518" y="263"/>
                          <a:pt x="525" y="256"/>
                        </a:cubicBezTo>
                        <a:cubicBezTo>
                          <a:pt x="566" y="215"/>
                          <a:pt x="566" y="215"/>
                          <a:pt x="566" y="215"/>
                        </a:cubicBezTo>
                        <a:cubicBezTo>
                          <a:pt x="550" y="198"/>
                          <a:pt x="550" y="198"/>
                          <a:pt x="550" y="198"/>
                        </a:cubicBezTo>
                        <a:cubicBezTo>
                          <a:pt x="509" y="239"/>
                          <a:pt x="509" y="239"/>
                          <a:pt x="509" y="239"/>
                        </a:cubicBezTo>
                        <a:cubicBezTo>
                          <a:pt x="459" y="290"/>
                          <a:pt x="377" y="290"/>
                          <a:pt x="327" y="239"/>
                        </a:cubicBezTo>
                        <a:cubicBezTo>
                          <a:pt x="309" y="222"/>
                          <a:pt x="309" y="222"/>
                          <a:pt x="309" y="222"/>
                        </a:cubicBezTo>
                        <a:cubicBezTo>
                          <a:pt x="305" y="217"/>
                          <a:pt x="298" y="217"/>
                          <a:pt x="293" y="221"/>
                        </a:cubicBezTo>
                        <a:cubicBezTo>
                          <a:pt x="262" y="249"/>
                          <a:pt x="262" y="249"/>
                          <a:pt x="262" y="249"/>
                        </a:cubicBezTo>
                        <a:cubicBezTo>
                          <a:pt x="228" y="279"/>
                          <a:pt x="179" y="280"/>
                          <a:pt x="143" y="253"/>
                        </a:cubicBezTo>
                        <a:cubicBezTo>
                          <a:pt x="300" y="106"/>
                          <a:pt x="300" y="106"/>
                          <a:pt x="300" y="106"/>
                        </a:cubicBezTo>
                        <a:cubicBezTo>
                          <a:pt x="311" y="95"/>
                          <a:pt x="325" y="90"/>
                          <a:pt x="340" y="90"/>
                        </a:cubicBezTo>
                        <a:cubicBezTo>
                          <a:pt x="478" y="90"/>
                          <a:pt x="478" y="90"/>
                          <a:pt x="478" y="90"/>
                        </a:cubicBezTo>
                        <a:cubicBezTo>
                          <a:pt x="488" y="90"/>
                          <a:pt x="497" y="86"/>
                          <a:pt x="503" y="79"/>
                        </a:cubicBezTo>
                        <a:cubicBezTo>
                          <a:pt x="566" y="16"/>
                          <a:pt x="566" y="16"/>
                          <a:pt x="566" y="16"/>
                        </a:cubicBezTo>
                        <a:cubicBezTo>
                          <a:pt x="550" y="0"/>
                          <a:pt x="550" y="0"/>
                          <a:pt x="550" y="0"/>
                        </a:cubicBezTo>
                        <a:cubicBezTo>
                          <a:pt x="487" y="63"/>
                          <a:pt x="487" y="63"/>
                          <a:pt x="487" y="63"/>
                        </a:cubicBezTo>
                        <a:cubicBezTo>
                          <a:pt x="484" y="65"/>
                          <a:pt x="481" y="66"/>
                          <a:pt x="478" y="66"/>
                        </a:cubicBezTo>
                        <a:cubicBezTo>
                          <a:pt x="340" y="66"/>
                          <a:pt x="340" y="66"/>
                          <a:pt x="340" y="66"/>
                        </a:cubicBezTo>
                        <a:cubicBezTo>
                          <a:pt x="320" y="66"/>
                          <a:pt x="299" y="74"/>
                          <a:pt x="284" y="88"/>
                        </a:cubicBezTo>
                        <a:cubicBezTo>
                          <a:pt x="118" y="245"/>
                          <a:pt x="118" y="245"/>
                          <a:pt x="118" y="245"/>
                        </a:cubicBezTo>
                        <a:cubicBezTo>
                          <a:pt x="113" y="249"/>
                          <a:pt x="113" y="257"/>
                          <a:pt x="117" y="261"/>
                        </a:cubicBezTo>
                        <a:cubicBezTo>
                          <a:pt x="117" y="261"/>
                          <a:pt x="117" y="262"/>
                          <a:pt x="117" y="262"/>
                        </a:cubicBezTo>
                        <a:cubicBezTo>
                          <a:pt x="161" y="305"/>
                          <a:pt x="231" y="307"/>
                          <a:pt x="278" y="266"/>
                        </a:cubicBezTo>
                        <a:cubicBezTo>
                          <a:pt x="300" y="246"/>
                          <a:pt x="300" y="246"/>
                          <a:pt x="300" y="246"/>
                        </a:cubicBezTo>
                        <a:cubicBezTo>
                          <a:pt x="310" y="256"/>
                          <a:pt x="310" y="256"/>
                          <a:pt x="310" y="256"/>
                        </a:cubicBezTo>
                        <a:cubicBezTo>
                          <a:pt x="355" y="301"/>
                          <a:pt x="423" y="313"/>
                          <a:pt x="481" y="286"/>
                        </a:cubicBezTo>
                        <a:cubicBezTo>
                          <a:pt x="602" y="408"/>
                          <a:pt x="602" y="408"/>
                          <a:pt x="602" y="408"/>
                        </a:cubicBezTo>
                        <a:cubicBezTo>
                          <a:pt x="614" y="420"/>
                          <a:pt x="614" y="438"/>
                          <a:pt x="602" y="450"/>
                        </a:cubicBezTo>
                        <a:cubicBezTo>
                          <a:pt x="590" y="461"/>
                          <a:pt x="572" y="461"/>
                          <a:pt x="561" y="450"/>
                        </a:cubicBezTo>
                        <a:cubicBezTo>
                          <a:pt x="531" y="421"/>
                          <a:pt x="531" y="421"/>
                          <a:pt x="531" y="421"/>
                        </a:cubicBezTo>
                        <a:cubicBezTo>
                          <a:pt x="515" y="437"/>
                          <a:pt x="515" y="437"/>
                          <a:pt x="515" y="437"/>
                        </a:cubicBezTo>
                        <a:cubicBezTo>
                          <a:pt x="544" y="466"/>
                          <a:pt x="544" y="466"/>
                          <a:pt x="544" y="466"/>
                        </a:cubicBezTo>
                        <a:cubicBezTo>
                          <a:pt x="556" y="478"/>
                          <a:pt x="556" y="497"/>
                          <a:pt x="544" y="508"/>
                        </a:cubicBezTo>
                        <a:cubicBezTo>
                          <a:pt x="532" y="519"/>
                          <a:pt x="514" y="519"/>
                          <a:pt x="502" y="508"/>
                        </a:cubicBezTo>
                        <a:cubicBezTo>
                          <a:pt x="473" y="479"/>
                          <a:pt x="473" y="479"/>
                          <a:pt x="473" y="479"/>
                        </a:cubicBezTo>
                        <a:cubicBezTo>
                          <a:pt x="456" y="496"/>
                          <a:pt x="456" y="496"/>
                          <a:pt x="456" y="496"/>
                        </a:cubicBezTo>
                        <a:cubicBezTo>
                          <a:pt x="486" y="525"/>
                          <a:pt x="486" y="525"/>
                          <a:pt x="486" y="525"/>
                        </a:cubicBezTo>
                        <a:cubicBezTo>
                          <a:pt x="497" y="536"/>
                          <a:pt x="497" y="555"/>
                          <a:pt x="486" y="567"/>
                        </a:cubicBezTo>
                        <a:cubicBezTo>
                          <a:pt x="474" y="578"/>
                          <a:pt x="455" y="578"/>
                          <a:pt x="444" y="567"/>
                        </a:cubicBezTo>
                        <a:cubicBezTo>
                          <a:pt x="414" y="537"/>
                          <a:pt x="414" y="537"/>
                          <a:pt x="414" y="537"/>
                        </a:cubicBezTo>
                        <a:cubicBezTo>
                          <a:pt x="398" y="554"/>
                          <a:pt x="398" y="554"/>
                          <a:pt x="398" y="554"/>
                        </a:cubicBezTo>
                        <a:cubicBezTo>
                          <a:pt x="427" y="583"/>
                          <a:pt x="427" y="583"/>
                          <a:pt x="427" y="583"/>
                        </a:cubicBezTo>
                        <a:cubicBezTo>
                          <a:pt x="439" y="595"/>
                          <a:pt x="439" y="614"/>
                          <a:pt x="427" y="625"/>
                        </a:cubicBezTo>
                        <a:cubicBezTo>
                          <a:pt x="415" y="636"/>
                          <a:pt x="397" y="636"/>
                          <a:pt x="385" y="625"/>
                        </a:cubicBezTo>
                        <a:cubicBezTo>
                          <a:pt x="364" y="604"/>
                          <a:pt x="364" y="604"/>
                          <a:pt x="364" y="604"/>
                        </a:cubicBezTo>
                        <a:cubicBezTo>
                          <a:pt x="383" y="582"/>
                          <a:pt x="381" y="549"/>
                          <a:pt x="360" y="530"/>
                        </a:cubicBezTo>
                        <a:cubicBezTo>
                          <a:pt x="348" y="520"/>
                          <a:pt x="333" y="515"/>
                          <a:pt x="318" y="517"/>
                        </a:cubicBezTo>
                        <a:cubicBezTo>
                          <a:pt x="322" y="488"/>
                          <a:pt x="301" y="462"/>
                          <a:pt x="273" y="458"/>
                        </a:cubicBezTo>
                        <a:cubicBezTo>
                          <a:pt x="268" y="458"/>
                          <a:pt x="264" y="458"/>
                          <a:pt x="260" y="458"/>
                        </a:cubicBezTo>
                        <a:cubicBezTo>
                          <a:pt x="263" y="429"/>
                          <a:pt x="243" y="403"/>
                          <a:pt x="214" y="400"/>
                        </a:cubicBezTo>
                        <a:cubicBezTo>
                          <a:pt x="210" y="399"/>
                          <a:pt x="206" y="399"/>
                          <a:pt x="201" y="400"/>
                        </a:cubicBezTo>
                        <a:cubicBezTo>
                          <a:pt x="205" y="371"/>
                          <a:pt x="184" y="345"/>
                          <a:pt x="156" y="341"/>
                        </a:cubicBezTo>
                        <a:cubicBezTo>
                          <a:pt x="141" y="339"/>
                          <a:pt x="125" y="344"/>
                          <a:pt x="114" y="354"/>
                        </a:cubicBezTo>
                        <a:cubicBezTo>
                          <a:pt x="17" y="257"/>
                          <a:pt x="17" y="257"/>
                          <a:pt x="17" y="257"/>
                        </a:cubicBezTo>
                        <a:cubicBezTo>
                          <a:pt x="0" y="273"/>
                          <a:pt x="0" y="273"/>
                          <a:pt x="0" y="273"/>
                        </a:cubicBezTo>
                        <a:cubicBezTo>
                          <a:pt x="97" y="370"/>
                          <a:pt x="97" y="370"/>
                          <a:pt x="97" y="370"/>
                        </a:cubicBezTo>
                        <a:cubicBezTo>
                          <a:pt x="76" y="391"/>
                          <a:pt x="76" y="391"/>
                          <a:pt x="76" y="391"/>
                        </a:cubicBezTo>
                        <a:cubicBezTo>
                          <a:pt x="56" y="412"/>
                          <a:pt x="56" y="446"/>
                          <a:pt x="76" y="466"/>
                        </a:cubicBezTo>
                        <a:cubicBezTo>
                          <a:pt x="86" y="476"/>
                          <a:pt x="100" y="482"/>
                          <a:pt x="114" y="482"/>
                        </a:cubicBezTo>
                        <a:cubicBezTo>
                          <a:pt x="116" y="482"/>
                          <a:pt x="118" y="482"/>
                          <a:pt x="120" y="481"/>
                        </a:cubicBezTo>
                        <a:cubicBezTo>
                          <a:pt x="116" y="510"/>
                          <a:pt x="137" y="536"/>
                          <a:pt x="166" y="540"/>
                        </a:cubicBezTo>
                        <a:cubicBezTo>
                          <a:pt x="168" y="540"/>
                          <a:pt x="170" y="540"/>
                          <a:pt x="172" y="540"/>
                        </a:cubicBezTo>
                        <a:cubicBezTo>
                          <a:pt x="174" y="540"/>
                          <a:pt x="176" y="540"/>
                          <a:pt x="178" y="540"/>
                        </a:cubicBezTo>
                        <a:cubicBezTo>
                          <a:pt x="175" y="568"/>
                          <a:pt x="195" y="595"/>
                          <a:pt x="224" y="598"/>
                        </a:cubicBezTo>
                        <a:cubicBezTo>
                          <a:pt x="226" y="599"/>
                          <a:pt x="229" y="599"/>
                          <a:pt x="231" y="599"/>
                        </a:cubicBezTo>
                        <a:cubicBezTo>
                          <a:pt x="233" y="599"/>
                          <a:pt x="235" y="598"/>
                          <a:pt x="237" y="598"/>
                        </a:cubicBezTo>
                        <a:cubicBezTo>
                          <a:pt x="233" y="627"/>
                          <a:pt x="254" y="653"/>
                          <a:pt x="283" y="657"/>
                        </a:cubicBezTo>
                        <a:cubicBezTo>
                          <a:pt x="299" y="659"/>
                          <a:pt x="315" y="653"/>
                          <a:pt x="327" y="642"/>
                        </a:cubicBezTo>
                        <a:cubicBezTo>
                          <a:pt x="348" y="621"/>
                          <a:pt x="348" y="621"/>
                          <a:pt x="348" y="621"/>
                        </a:cubicBezTo>
                        <a:cubicBezTo>
                          <a:pt x="369" y="642"/>
                          <a:pt x="369" y="642"/>
                          <a:pt x="369" y="642"/>
                        </a:cubicBezTo>
                        <a:cubicBezTo>
                          <a:pt x="389" y="662"/>
                          <a:pt x="423" y="662"/>
                          <a:pt x="444" y="642"/>
                        </a:cubicBezTo>
                        <a:cubicBezTo>
                          <a:pt x="455" y="630"/>
                          <a:pt x="461" y="614"/>
                          <a:pt x="459" y="598"/>
                        </a:cubicBezTo>
                        <a:cubicBezTo>
                          <a:pt x="488" y="602"/>
                          <a:pt x="514" y="581"/>
                          <a:pt x="517" y="552"/>
                        </a:cubicBezTo>
                        <a:cubicBezTo>
                          <a:pt x="518" y="548"/>
                          <a:pt x="518" y="544"/>
                          <a:pt x="517" y="540"/>
                        </a:cubicBezTo>
                        <a:cubicBezTo>
                          <a:pt x="546" y="543"/>
                          <a:pt x="573" y="522"/>
                          <a:pt x="576" y="493"/>
                        </a:cubicBezTo>
                        <a:cubicBezTo>
                          <a:pt x="576" y="489"/>
                          <a:pt x="576" y="485"/>
                          <a:pt x="576" y="481"/>
                        </a:cubicBezTo>
                        <a:cubicBezTo>
                          <a:pt x="605" y="485"/>
                          <a:pt x="631" y="464"/>
                          <a:pt x="634" y="435"/>
                        </a:cubicBezTo>
                        <a:cubicBezTo>
                          <a:pt x="636" y="419"/>
                          <a:pt x="630" y="403"/>
                          <a:pt x="619" y="391"/>
                        </a:cubicBezTo>
                        <a:close/>
                        <a:moveTo>
                          <a:pt x="135" y="450"/>
                        </a:moveTo>
                        <a:cubicBezTo>
                          <a:pt x="123" y="461"/>
                          <a:pt x="104" y="461"/>
                          <a:pt x="93" y="450"/>
                        </a:cubicBezTo>
                        <a:cubicBezTo>
                          <a:pt x="81" y="438"/>
                          <a:pt x="81" y="419"/>
                          <a:pt x="93" y="408"/>
                        </a:cubicBezTo>
                        <a:cubicBezTo>
                          <a:pt x="128" y="373"/>
                          <a:pt x="128" y="373"/>
                          <a:pt x="128" y="373"/>
                        </a:cubicBezTo>
                        <a:cubicBezTo>
                          <a:pt x="140" y="361"/>
                          <a:pt x="158" y="362"/>
                          <a:pt x="170" y="373"/>
                        </a:cubicBezTo>
                        <a:cubicBezTo>
                          <a:pt x="181" y="385"/>
                          <a:pt x="181" y="403"/>
                          <a:pt x="170" y="415"/>
                        </a:cubicBezTo>
                        <a:lnTo>
                          <a:pt x="135" y="450"/>
                        </a:lnTo>
                        <a:close/>
                        <a:moveTo>
                          <a:pt x="193" y="508"/>
                        </a:moveTo>
                        <a:cubicBezTo>
                          <a:pt x="182" y="520"/>
                          <a:pt x="163" y="520"/>
                          <a:pt x="151" y="508"/>
                        </a:cubicBezTo>
                        <a:cubicBezTo>
                          <a:pt x="140" y="497"/>
                          <a:pt x="140" y="478"/>
                          <a:pt x="151" y="466"/>
                        </a:cubicBezTo>
                        <a:cubicBezTo>
                          <a:pt x="186" y="431"/>
                          <a:pt x="186" y="431"/>
                          <a:pt x="186" y="431"/>
                        </a:cubicBezTo>
                        <a:cubicBezTo>
                          <a:pt x="198" y="420"/>
                          <a:pt x="217" y="420"/>
                          <a:pt x="228" y="432"/>
                        </a:cubicBezTo>
                        <a:cubicBezTo>
                          <a:pt x="239" y="443"/>
                          <a:pt x="239" y="462"/>
                          <a:pt x="228" y="473"/>
                        </a:cubicBezTo>
                        <a:lnTo>
                          <a:pt x="193" y="508"/>
                        </a:lnTo>
                        <a:close/>
                        <a:moveTo>
                          <a:pt x="210" y="567"/>
                        </a:moveTo>
                        <a:cubicBezTo>
                          <a:pt x="198" y="555"/>
                          <a:pt x="198" y="536"/>
                          <a:pt x="210" y="525"/>
                        </a:cubicBezTo>
                        <a:cubicBezTo>
                          <a:pt x="245" y="490"/>
                          <a:pt x="245" y="490"/>
                          <a:pt x="245" y="490"/>
                        </a:cubicBezTo>
                        <a:cubicBezTo>
                          <a:pt x="257" y="478"/>
                          <a:pt x="275" y="479"/>
                          <a:pt x="287" y="490"/>
                        </a:cubicBezTo>
                        <a:cubicBezTo>
                          <a:pt x="298" y="502"/>
                          <a:pt x="298" y="520"/>
                          <a:pt x="287" y="532"/>
                        </a:cubicBezTo>
                        <a:cubicBezTo>
                          <a:pt x="252" y="567"/>
                          <a:pt x="252" y="567"/>
                          <a:pt x="252" y="567"/>
                        </a:cubicBezTo>
                        <a:cubicBezTo>
                          <a:pt x="240" y="578"/>
                          <a:pt x="221" y="578"/>
                          <a:pt x="210" y="567"/>
                        </a:cubicBezTo>
                        <a:close/>
                        <a:moveTo>
                          <a:pt x="345" y="590"/>
                        </a:moveTo>
                        <a:cubicBezTo>
                          <a:pt x="310" y="625"/>
                          <a:pt x="310" y="625"/>
                          <a:pt x="310" y="625"/>
                        </a:cubicBezTo>
                        <a:cubicBezTo>
                          <a:pt x="298" y="637"/>
                          <a:pt x="280" y="636"/>
                          <a:pt x="268" y="624"/>
                        </a:cubicBezTo>
                        <a:cubicBezTo>
                          <a:pt x="257" y="613"/>
                          <a:pt x="257" y="595"/>
                          <a:pt x="268" y="583"/>
                        </a:cubicBezTo>
                        <a:cubicBezTo>
                          <a:pt x="303" y="548"/>
                          <a:pt x="303" y="548"/>
                          <a:pt x="303" y="548"/>
                        </a:cubicBezTo>
                        <a:cubicBezTo>
                          <a:pt x="315" y="537"/>
                          <a:pt x="334" y="537"/>
                          <a:pt x="345" y="549"/>
                        </a:cubicBezTo>
                        <a:cubicBezTo>
                          <a:pt x="356" y="560"/>
                          <a:pt x="356" y="579"/>
                          <a:pt x="345" y="59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19" name="Freeform 27">
                    <a:extLst>
                      <a:ext uri="{FF2B5EF4-FFF2-40B4-BE49-F238E27FC236}">
                        <a16:creationId xmlns:a16="http://schemas.microsoft.com/office/drawing/2014/main" id="{DF1C91B3-CAAA-4A30-A340-193A40B2CA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7" y="2"/>
                    <a:ext cx="256" cy="185"/>
                  </a:xfrm>
                  <a:custGeom>
                    <a:avLst/>
                    <a:gdLst>
                      <a:gd name="T0" fmla="*/ 88 w 125"/>
                      <a:gd name="T1" fmla="*/ 66 h 90"/>
                      <a:gd name="T2" fmla="*/ 80 w 125"/>
                      <a:gd name="T3" fmla="*/ 63 h 90"/>
                      <a:gd name="T4" fmla="*/ 16 w 125"/>
                      <a:gd name="T5" fmla="*/ 0 h 90"/>
                      <a:gd name="T6" fmla="*/ 0 w 125"/>
                      <a:gd name="T7" fmla="*/ 16 h 90"/>
                      <a:gd name="T8" fmla="*/ 63 w 125"/>
                      <a:gd name="T9" fmla="*/ 79 h 90"/>
                      <a:gd name="T10" fmla="*/ 88 w 125"/>
                      <a:gd name="T11" fmla="*/ 90 h 90"/>
                      <a:gd name="T12" fmla="*/ 125 w 125"/>
                      <a:gd name="T13" fmla="*/ 90 h 90"/>
                      <a:gd name="T14" fmla="*/ 125 w 125"/>
                      <a:gd name="T15" fmla="*/ 66 h 90"/>
                      <a:gd name="T16" fmla="*/ 88 w 125"/>
                      <a:gd name="T17" fmla="*/ 66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5" h="90">
                        <a:moveTo>
                          <a:pt x="88" y="66"/>
                        </a:moveTo>
                        <a:cubicBezTo>
                          <a:pt x="85" y="66"/>
                          <a:pt x="82" y="65"/>
                          <a:pt x="80" y="63"/>
                        </a:cubicBezTo>
                        <a:cubicBezTo>
                          <a:pt x="16" y="0"/>
                          <a:pt x="16" y="0"/>
                          <a:pt x="16" y="0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63" y="79"/>
                          <a:pt x="63" y="79"/>
                          <a:pt x="63" y="79"/>
                        </a:cubicBezTo>
                        <a:cubicBezTo>
                          <a:pt x="70" y="86"/>
                          <a:pt x="79" y="90"/>
                          <a:pt x="88" y="90"/>
                        </a:cubicBezTo>
                        <a:cubicBezTo>
                          <a:pt x="125" y="90"/>
                          <a:pt x="125" y="90"/>
                          <a:pt x="125" y="90"/>
                        </a:cubicBezTo>
                        <a:cubicBezTo>
                          <a:pt x="125" y="66"/>
                          <a:pt x="125" y="66"/>
                          <a:pt x="125" y="66"/>
                        </a:cubicBezTo>
                        <a:lnTo>
                          <a:pt x="88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213" name="Freeform 428">
                <a:extLst>
                  <a:ext uri="{FF2B5EF4-FFF2-40B4-BE49-F238E27FC236}">
                    <a16:creationId xmlns:a16="http://schemas.microsoft.com/office/drawing/2014/main" id="{19C137D6-E010-409C-BB31-B30689E481CD}"/>
                  </a:ext>
                </a:extLst>
              </p:cNvPr>
              <p:cNvSpPr/>
              <p:nvPr/>
            </p:nvSpPr>
            <p:spPr>
              <a:xfrm>
                <a:off x="10904873" y="1337970"/>
                <a:ext cx="513496" cy="230848"/>
              </a:xfrm>
              <a:custGeom>
                <a:avLst/>
                <a:gdLst>
                  <a:gd name="connsiteX0" fmla="*/ 256748 w 513496"/>
                  <a:gd name="connsiteY0" fmla="*/ 0 h 230848"/>
                  <a:gd name="connsiteX1" fmla="*/ 302282 w 513496"/>
                  <a:gd name="connsiteY1" fmla="*/ 52560 h 230848"/>
                  <a:gd name="connsiteX2" fmla="*/ 513496 w 513496"/>
                  <a:gd name="connsiteY2" fmla="*/ 52560 h 230848"/>
                  <a:gd name="connsiteX3" fmla="*/ 513496 w 513496"/>
                  <a:gd name="connsiteY3" fmla="*/ 230848 h 230848"/>
                  <a:gd name="connsiteX4" fmla="*/ 0 w 513496"/>
                  <a:gd name="connsiteY4" fmla="*/ 230848 h 230848"/>
                  <a:gd name="connsiteX5" fmla="*/ 0 w 513496"/>
                  <a:gd name="connsiteY5" fmla="*/ 52560 h 230848"/>
                  <a:gd name="connsiteX6" fmla="*/ 211214 w 513496"/>
                  <a:gd name="connsiteY6" fmla="*/ 52560 h 230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3496" h="230848">
                    <a:moveTo>
                      <a:pt x="256748" y="0"/>
                    </a:moveTo>
                    <a:lnTo>
                      <a:pt x="302282" y="52560"/>
                    </a:lnTo>
                    <a:lnTo>
                      <a:pt x="513496" y="52560"/>
                    </a:lnTo>
                    <a:lnTo>
                      <a:pt x="513496" y="230848"/>
                    </a:lnTo>
                    <a:lnTo>
                      <a:pt x="0" y="230848"/>
                    </a:lnTo>
                    <a:lnTo>
                      <a:pt x="0" y="52560"/>
                    </a:lnTo>
                    <a:lnTo>
                      <a:pt x="211214" y="525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CO" sz="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9B84B21E-5CCC-401C-893A-59D653BF4D7A}"/>
                </a:ext>
              </a:extLst>
            </p:cNvPr>
            <p:cNvSpPr txBox="1"/>
            <p:nvPr/>
          </p:nvSpPr>
          <p:spPr>
            <a:xfrm>
              <a:off x="10907391" y="1453467"/>
              <a:ext cx="5084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5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SII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592803-6D03-4033-A83A-1FBF2355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B45A045-207A-4DF2-9EF9-3F3EBAA533F1}"/>
              </a:ext>
            </a:extLst>
          </p:cNvPr>
          <p:cNvSpPr/>
          <p:nvPr/>
        </p:nvSpPr>
        <p:spPr>
          <a:xfrm>
            <a:off x="-4023" y="991372"/>
            <a:ext cx="1866380" cy="4699515"/>
          </a:xfrm>
          <a:prstGeom prst="rect">
            <a:avLst/>
          </a:prstGeom>
          <a:solidFill>
            <a:srgbClr val="F2F2F2">
              <a:alpha val="9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7D78E9C-A89B-4A85-82A9-5A5F5B2C3B29}"/>
              </a:ext>
            </a:extLst>
          </p:cNvPr>
          <p:cNvSpPr/>
          <p:nvPr/>
        </p:nvSpPr>
        <p:spPr>
          <a:xfrm>
            <a:off x="599552" y="1141225"/>
            <a:ext cx="13628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Establishing parallel agreements to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ensure global access</a:t>
            </a:r>
            <a:r>
              <a:rPr lang="bg-BG" sz="6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GB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02CB943-D3F6-4E27-BF67-B6EA4EFDB33B}"/>
              </a:ext>
            </a:extLst>
          </p:cNvPr>
          <p:cNvCxnSpPr>
            <a:cxnSpLocks/>
          </p:cNvCxnSpPr>
          <p:nvPr/>
        </p:nvCxnSpPr>
        <p:spPr>
          <a:xfrm>
            <a:off x="671386" y="1490254"/>
            <a:ext cx="1017434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DEC2C0B-C3FF-4C8B-BD58-C412E22F9667}"/>
              </a:ext>
            </a:extLst>
          </p:cNvPr>
          <p:cNvGrpSpPr/>
          <p:nvPr/>
        </p:nvGrpSpPr>
        <p:grpSpPr>
          <a:xfrm>
            <a:off x="68297" y="1063871"/>
            <a:ext cx="497474" cy="497474"/>
            <a:chOff x="440358" y="4610377"/>
            <a:chExt cx="447694" cy="447694"/>
          </a:xfrm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A5475F1F-ECA6-4367-A390-9DBA8571BC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0358" y="4610377"/>
              <a:ext cx="447694" cy="447694"/>
            </a:xfrm>
            <a:prstGeom prst="ellipse">
              <a:avLst/>
            </a:prstGeom>
            <a:solidFill>
              <a:schemeClr val="bg1">
                <a:lumMod val="85000"/>
                <a:alpha val="76000"/>
              </a:schemeClr>
            </a:solidFill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CR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87E8C1FA-EE60-4A2F-9EDB-9D92EB5292D7}"/>
                </a:ext>
              </a:extLst>
            </p:cNvPr>
            <p:cNvSpPr/>
            <p:nvPr/>
          </p:nvSpPr>
          <p:spPr>
            <a:xfrm>
              <a:off x="491299" y="4661318"/>
              <a:ext cx="345812" cy="3458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bIns="0" rtlCol="0" anchor="b"/>
            <a:lstStyle/>
            <a:p>
              <a:pPr algn="ctr"/>
              <a:endParaRPr lang="en-CR" sz="300" b="1" spc="4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0" name="Group 24">
              <a:extLst>
                <a:ext uri="{FF2B5EF4-FFF2-40B4-BE49-F238E27FC236}">
                  <a16:creationId xmlns:a16="http://schemas.microsoft.com/office/drawing/2014/main" id="{F646CD44-F457-4A62-8AA9-60052EE436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8604" y="4751499"/>
              <a:ext cx="164964" cy="157203"/>
              <a:chOff x="3" y="2"/>
              <a:chExt cx="1424" cy="1357"/>
            </a:xfrm>
            <a:solidFill>
              <a:schemeClr val="bg1"/>
            </a:solidFill>
          </p:grpSpPr>
          <p:sp>
            <p:nvSpPr>
              <p:cNvPr id="121" name="Freeform 25">
                <a:extLst>
                  <a:ext uri="{FF2B5EF4-FFF2-40B4-BE49-F238E27FC236}">
                    <a16:creationId xmlns:a16="http://schemas.microsoft.com/office/drawing/2014/main" id="{ED32CEC0-8CB7-4E1E-B3D1-75DD463A1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529"/>
                <a:ext cx="201" cy="201"/>
              </a:xfrm>
              <a:custGeom>
                <a:avLst/>
                <a:gdLst>
                  <a:gd name="T0" fmla="*/ 0 w 201"/>
                  <a:gd name="T1" fmla="*/ 168 h 201"/>
                  <a:gd name="T2" fmla="*/ 166 w 201"/>
                  <a:gd name="T3" fmla="*/ 0 h 201"/>
                  <a:gd name="T4" fmla="*/ 201 w 201"/>
                  <a:gd name="T5" fmla="*/ 33 h 201"/>
                  <a:gd name="T6" fmla="*/ 33 w 201"/>
                  <a:gd name="T7" fmla="*/ 201 h 201"/>
                  <a:gd name="T8" fmla="*/ 0 w 201"/>
                  <a:gd name="T9" fmla="*/ 16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201">
                    <a:moveTo>
                      <a:pt x="0" y="168"/>
                    </a:moveTo>
                    <a:lnTo>
                      <a:pt x="166" y="0"/>
                    </a:lnTo>
                    <a:lnTo>
                      <a:pt x="201" y="33"/>
                    </a:lnTo>
                    <a:lnTo>
                      <a:pt x="33" y="201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Freeform 26">
                <a:extLst>
                  <a:ext uri="{FF2B5EF4-FFF2-40B4-BE49-F238E27FC236}">
                    <a16:creationId xmlns:a16="http://schemas.microsoft.com/office/drawing/2014/main" id="{1199744E-9337-4D92-BD0C-4900AE8FD4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" y="2"/>
                <a:ext cx="1303" cy="1357"/>
              </a:xfrm>
              <a:custGeom>
                <a:avLst/>
                <a:gdLst>
                  <a:gd name="T0" fmla="*/ 502 w 636"/>
                  <a:gd name="T1" fmla="*/ 275 h 662"/>
                  <a:gd name="T2" fmla="*/ 566 w 636"/>
                  <a:gd name="T3" fmla="*/ 215 h 662"/>
                  <a:gd name="T4" fmla="*/ 509 w 636"/>
                  <a:gd name="T5" fmla="*/ 239 h 662"/>
                  <a:gd name="T6" fmla="*/ 309 w 636"/>
                  <a:gd name="T7" fmla="*/ 222 h 662"/>
                  <a:gd name="T8" fmla="*/ 262 w 636"/>
                  <a:gd name="T9" fmla="*/ 249 h 662"/>
                  <a:gd name="T10" fmla="*/ 300 w 636"/>
                  <a:gd name="T11" fmla="*/ 106 h 662"/>
                  <a:gd name="T12" fmla="*/ 478 w 636"/>
                  <a:gd name="T13" fmla="*/ 90 h 662"/>
                  <a:gd name="T14" fmla="*/ 566 w 636"/>
                  <a:gd name="T15" fmla="*/ 16 h 662"/>
                  <a:gd name="T16" fmla="*/ 487 w 636"/>
                  <a:gd name="T17" fmla="*/ 63 h 662"/>
                  <a:gd name="T18" fmla="*/ 340 w 636"/>
                  <a:gd name="T19" fmla="*/ 66 h 662"/>
                  <a:gd name="T20" fmla="*/ 118 w 636"/>
                  <a:gd name="T21" fmla="*/ 245 h 662"/>
                  <a:gd name="T22" fmla="*/ 117 w 636"/>
                  <a:gd name="T23" fmla="*/ 262 h 662"/>
                  <a:gd name="T24" fmla="*/ 300 w 636"/>
                  <a:gd name="T25" fmla="*/ 246 h 662"/>
                  <a:gd name="T26" fmla="*/ 481 w 636"/>
                  <a:gd name="T27" fmla="*/ 286 h 662"/>
                  <a:gd name="T28" fmla="*/ 602 w 636"/>
                  <a:gd name="T29" fmla="*/ 450 h 662"/>
                  <a:gd name="T30" fmla="*/ 531 w 636"/>
                  <a:gd name="T31" fmla="*/ 421 h 662"/>
                  <a:gd name="T32" fmla="*/ 544 w 636"/>
                  <a:gd name="T33" fmla="*/ 466 h 662"/>
                  <a:gd name="T34" fmla="*/ 502 w 636"/>
                  <a:gd name="T35" fmla="*/ 508 h 662"/>
                  <a:gd name="T36" fmla="*/ 456 w 636"/>
                  <a:gd name="T37" fmla="*/ 496 h 662"/>
                  <a:gd name="T38" fmla="*/ 486 w 636"/>
                  <a:gd name="T39" fmla="*/ 567 h 662"/>
                  <a:gd name="T40" fmla="*/ 414 w 636"/>
                  <a:gd name="T41" fmla="*/ 537 h 662"/>
                  <a:gd name="T42" fmla="*/ 427 w 636"/>
                  <a:gd name="T43" fmla="*/ 583 h 662"/>
                  <a:gd name="T44" fmla="*/ 385 w 636"/>
                  <a:gd name="T45" fmla="*/ 625 h 662"/>
                  <a:gd name="T46" fmla="*/ 360 w 636"/>
                  <a:gd name="T47" fmla="*/ 530 h 662"/>
                  <a:gd name="T48" fmla="*/ 273 w 636"/>
                  <a:gd name="T49" fmla="*/ 458 h 662"/>
                  <a:gd name="T50" fmla="*/ 214 w 636"/>
                  <a:gd name="T51" fmla="*/ 400 h 662"/>
                  <a:gd name="T52" fmla="*/ 156 w 636"/>
                  <a:gd name="T53" fmla="*/ 341 h 662"/>
                  <a:gd name="T54" fmla="*/ 17 w 636"/>
                  <a:gd name="T55" fmla="*/ 257 h 662"/>
                  <a:gd name="T56" fmla="*/ 97 w 636"/>
                  <a:gd name="T57" fmla="*/ 370 h 662"/>
                  <a:gd name="T58" fmla="*/ 76 w 636"/>
                  <a:gd name="T59" fmla="*/ 466 h 662"/>
                  <a:gd name="T60" fmla="*/ 120 w 636"/>
                  <a:gd name="T61" fmla="*/ 481 h 662"/>
                  <a:gd name="T62" fmla="*/ 172 w 636"/>
                  <a:gd name="T63" fmla="*/ 540 h 662"/>
                  <a:gd name="T64" fmla="*/ 224 w 636"/>
                  <a:gd name="T65" fmla="*/ 598 h 662"/>
                  <a:gd name="T66" fmla="*/ 237 w 636"/>
                  <a:gd name="T67" fmla="*/ 598 h 662"/>
                  <a:gd name="T68" fmla="*/ 327 w 636"/>
                  <a:gd name="T69" fmla="*/ 642 h 662"/>
                  <a:gd name="T70" fmla="*/ 369 w 636"/>
                  <a:gd name="T71" fmla="*/ 642 h 662"/>
                  <a:gd name="T72" fmla="*/ 459 w 636"/>
                  <a:gd name="T73" fmla="*/ 598 h 662"/>
                  <a:gd name="T74" fmla="*/ 517 w 636"/>
                  <a:gd name="T75" fmla="*/ 540 h 662"/>
                  <a:gd name="T76" fmla="*/ 576 w 636"/>
                  <a:gd name="T77" fmla="*/ 481 h 662"/>
                  <a:gd name="T78" fmla="*/ 619 w 636"/>
                  <a:gd name="T79" fmla="*/ 391 h 662"/>
                  <a:gd name="T80" fmla="*/ 93 w 636"/>
                  <a:gd name="T81" fmla="*/ 450 h 662"/>
                  <a:gd name="T82" fmla="*/ 128 w 636"/>
                  <a:gd name="T83" fmla="*/ 373 h 662"/>
                  <a:gd name="T84" fmla="*/ 170 w 636"/>
                  <a:gd name="T85" fmla="*/ 415 h 662"/>
                  <a:gd name="T86" fmla="*/ 193 w 636"/>
                  <a:gd name="T87" fmla="*/ 508 h 662"/>
                  <a:gd name="T88" fmla="*/ 151 w 636"/>
                  <a:gd name="T89" fmla="*/ 466 h 662"/>
                  <a:gd name="T90" fmla="*/ 228 w 636"/>
                  <a:gd name="T91" fmla="*/ 432 h 662"/>
                  <a:gd name="T92" fmla="*/ 193 w 636"/>
                  <a:gd name="T93" fmla="*/ 508 h 662"/>
                  <a:gd name="T94" fmla="*/ 210 w 636"/>
                  <a:gd name="T95" fmla="*/ 525 h 662"/>
                  <a:gd name="T96" fmla="*/ 287 w 636"/>
                  <a:gd name="T97" fmla="*/ 490 h 662"/>
                  <a:gd name="T98" fmla="*/ 252 w 636"/>
                  <a:gd name="T99" fmla="*/ 567 h 662"/>
                  <a:gd name="T100" fmla="*/ 345 w 636"/>
                  <a:gd name="T101" fmla="*/ 590 h 662"/>
                  <a:gd name="T102" fmla="*/ 268 w 636"/>
                  <a:gd name="T103" fmla="*/ 624 h 662"/>
                  <a:gd name="T104" fmla="*/ 303 w 636"/>
                  <a:gd name="T105" fmla="*/ 548 h 662"/>
                  <a:gd name="T106" fmla="*/ 345 w 636"/>
                  <a:gd name="T107" fmla="*/ 590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6" h="662">
                    <a:moveTo>
                      <a:pt x="619" y="391"/>
                    </a:moveTo>
                    <a:cubicBezTo>
                      <a:pt x="502" y="275"/>
                      <a:pt x="502" y="275"/>
                      <a:pt x="502" y="275"/>
                    </a:cubicBezTo>
                    <a:cubicBezTo>
                      <a:pt x="511" y="269"/>
                      <a:pt x="518" y="263"/>
                      <a:pt x="525" y="256"/>
                    </a:cubicBezTo>
                    <a:cubicBezTo>
                      <a:pt x="566" y="215"/>
                      <a:pt x="566" y="215"/>
                      <a:pt x="566" y="215"/>
                    </a:cubicBezTo>
                    <a:cubicBezTo>
                      <a:pt x="550" y="198"/>
                      <a:pt x="550" y="198"/>
                      <a:pt x="550" y="198"/>
                    </a:cubicBezTo>
                    <a:cubicBezTo>
                      <a:pt x="509" y="239"/>
                      <a:pt x="509" y="239"/>
                      <a:pt x="509" y="239"/>
                    </a:cubicBezTo>
                    <a:cubicBezTo>
                      <a:pt x="459" y="290"/>
                      <a:pt x="377" y="290"/>
                      <a:pt x="327" y="239"/>
                    </a:cubicBezTo>
                    <a:cubicBezTo>
                      <a:pt x="309" y="222"/>
                      <a:pt x="309" y="222"/>
                      <a:pt x="309" y="222"/>
                    </a:cubicBezTo>
                    <a:cubicBezTo>
                      <a:pt x="305" y="217"/>
                      <a:pt x="298" y="217"/>
                      <a:pt x="293" y="221"/>
                    </a:cubicBezTo>
                    <a:cubicBezTo>
                      <a:pt x="262" y="249"/>
                      <a:pt x="262" y="249"/>
                      <a:pt x="262" y="249"/>
                    </a:cubicBezTo>
                    <a:cubicBezTo>
                      <a:pt x="228" y="279"/>
                      <a:pt x="179" y="280"/>
                      <a:pt x="143" y="253"/>
                    </a:cubicBezTo>
                    <a:cubicBezTo>
                      <a:pt x="300" y="106"/>
                      <a:pt x="300" y="106"/>
                      <a:pt x="300" y="106"/>
                    </a:cubicBezTo>
                    <a:cubicBezTo>
                      <a:pt x="311" y="95"/>
                      <a:pt x="325" y="90"/>
                      <a:pt x="340" y="90"/>
                    </a:cubicBezTo>
                    <a:cubicBezTo>
                      <a:pt x="478" y="90"/>
                      <a:pt x="478" y="90"/>
                      <a:pt x="478" y="90"/>
                    </a:cubicBezTo>
                    <a:cubicBezTo>
                      <a:pt x="488" y="90"/>
                      <a:pt x="497" y="86"/>
                      <a:pt x="503" y="79"/>
                    </a:cubicBezTo>
                    <a:cubicBezTo>
                      <a:pt x="566" y="16"/>
                      <a:pt x="566" y="16"/>
                      <a:pt x="566" y="16"/>
                    </a:cubicBezTo>
                    <a:cubicBezTo>
                      <a:pt x="550" y="0"/>
                      <a:pt x="550" y="0"/>
                      <a:pt x="550" y="0"/>
                    </a:cubicBezTo>
                    <a:cubicBezTo>
                      <a:pt x="487" y="63"/>
                      <a:pt x="487" y="63"/>
                      <a:pt x="487" y="63"/>
                    </a:cubicBezTo>
                    <a:cubicBezTo>
                      <a:pt x="484" y="65"/>
                      <a:pt x="481" y="66"/>
                      <a:pt x="478" y="66"/>
                    </a:cubicBezTo>
                    <a:cubicBezTo>
                      <a:pt x="340" y="66"/>
                      <a:pt x="340" y="66"/>
                      <a:pt x="340" y="66"/>
                    </a:cubicBezTo>
                    <a:cubicBezTo>
                      <a:pt x="320" y="66"/>
                      <a:pt x="299" y="74"/>
                      <a:pt x="284" y="88"/>
                    </a:cubicBezTo>
                    <a:cubicBezTo>
                      <a:pt x="118" y="245"/>
                      <a:pt x="118" y="245"/>
                      <a:pt x="118" y="245"/>
                    </a:cubicBezTo>
                    <a:cubicBezTo>
                      <a:pt x="113" y="249"/>
                      <a:pt x="113" y="257"/>
                      <a:pt x="117" y="261"/>
                    </a:cubicBezTo>
                    <a:cubicBezTo>
                      <a:pt x="117" y="261"/>
                      <a:pt x="117" y="262"/>
                      <a:pt x="117" y="262"/>
                    </a:cubicBezTo>
                    <a:cubicBezTo>
                      <a:pt x="161" y="305"/>
                      <a:pt x="231" y="307"/>
                      <a:pt x="278" y="266"/>
                    </a:cubicBezTo>
                    <a:cubicBezTo>
                      <a:pt x="300" y="246"/>
                      <a:pt x="300" y="246"/>
                      <a:pt x="300" y="246"/>
                    </a:cubicBezTo>
                    <a:cubicBezTo>
                      <a:pt x="310" y="256"/>
                      <a:pt x="310" y="256"/>
                      <a:pt x="310" y="256"/>
                    </a:cubicBezTo>
                    <a:cubicBezTo>
                      <a:pt x="355" y="301"/>
                      <a:pt x="423" y="313"/>
                      <a:pt x="481" y="286"/>
                    </a:cubicBezTo>
                    <a:cubicBezTo>
                      <a:pt x="602" y="408"/>
                      <a:pt x="602" y="408"/>
                      <a:pt x="602" y="408"/>
                    </a:cubicBezTo>
                    <a:cubicBezTo>
                      <a:pt x="614" y="420"/>
                      <a:pt x="614" y="438"/>
                      <a:pt x="602" y="450"/>
                    </a:cubicBezTo>
                    <a:cubicBezTo>
                      <a:pt x="590" y="461"/>
                      <a:pt x="572" y="461"/>
                      <a:pt x="561" y="450"/>
                    </a:cubicBezTo>
                    <a:cubicBezTo>
                      <a:pt x="531" y="421"/>
                      <a:pt x="531" y="421"/>
                      <a:pt x="531" y="421"/>
                    </a:cubicBezTo>
                    <a:cubicBezTo>
                      <a:pt x="515" y="437"/>
                      <a:pt x="515" y="437"/>
                      <a:pt x="515" y="437"/>
                    </a:cubicBezTo>
                    <a:cubicBezTo>
                      <a:pt x="544" y="466"/>
                      <a:pt x="544" y="466"/>
                      <a:pt x="544" y="466"/>
                    </a:cubicBezTo>
                    <a:cubicBezTo>
                      <a:pt x="556" y="478"/>
                      <a:pt x="556" y="497"/>
                      <a:pt x="544" y="508"/>
                    </a:cubicBezTo>
                    <a:cubicBezTo>
                      <a:pt x="532" y="519"/>
                      <a:pt x="514" y="519"/>
                      <a:pt x="502" y="508"/>
                    </a:cubicBezTo>
                    <a:cubicBezTo>
                      <a:pt x="473" y="479"/>
                      <a:pt x="473" y="479"/>
                      <a:pt x="473" y="479"/>
                    </a:cubicBezTo>
                    <a:cubicBezTo>
                      <a:pt x="456" y="496"/>
                      <a:pt x="456" y="496"/>
                      <a:pt x="456" y="496"/>
                    </a:cubicBezTo>
                    <a:cubicBezTo>
                      <a:pt x="486" y="525"/>
                      <a:pt x="486" y="525"/>
                      <a:pt x="486" y="525"/>
                    </a:cubicBezTo>
                    <a:cubicBezTo>
                      <a:pt x="497" y="536"/>
                      <a:pt x="497" y="555"/>
                      <a:pt x="486" y="567"/>
                    </a:cubicBezTo>
                    <a:cubicBezTo>
                      <a:pt x="474" y="578"/>
                      <a:pt x="455" y="578"/>
                      <a:pt x="444" y="567"/>
                    </a:cubicBezTo>
                    <a:cubicBezTo>
                      <a:pt x="414" y="537"/>
                      <a:pt x="414" y="537"/>
                      <a:pt x="414" y="537"/>
                    </a:cubicBezTo>
                    <a:cubicBezTo>
                      <a:pt x="398" y="554"/>
                      <a:pt x="398" y="554"/>
                      <a:pt x="398" y="554"/>
                    </a:cubicBezTo>
                    <a:cubicBezTo>
                      <a:pt x="427" y="583"/>
                      <a:pt x="427" y="583"/>
                      <a:pt x="427" y="583"/>
                    </a:cubicBezTo>
                    <a:cubicBezTo>
                      <a:pt x="439" y="595"/>
                      <a:pt x="439" y="614"/>
                      <a:pt x="427" y="625"/>
                    </a:cubicBezTo>
                    <a:cubicBezTo>
                      <a:pt x="415" y="636"/>
                      <a:pt x="397" y="636"/>
                      <a:pt x="385" y="625"/>
                    </a:cubicBezTo>
                    <a:cubicBezTo>
                      <a:pt x="364" y="604"/>
                      <a:pt x="364" y="604"/>
                      <a:pt x="364" y="604"/>
                    </a:cubicBezTo>
                    <a:cubicBezTo>
                      <a:pt x="383" y="582"/>
                      <a:pt x="381" y="549"/>
                      <a:pt x="360" y="530"/>
                    </a:cubicBezTo>
                    <a:cubicBezTo>
                      <a:pt x="348" y="520"/>
                      <a:pt x="333" y="515"/>
                      <a:pt x="318" y="517"/>
                    </a:cubicBezTo>
                    <a:cubicBezTo>
                      <a:pt x="322" y="488"/>
                      <a:pt x="301" y="462"/>
                      <a:pt x="273" y="458"/>
                    </a:cubicBezTo>
                    <a:cubicBezTo>
                      <a:pt x="268" y="458"/>
                      <a:pt x="264" y="458"/>
                      <a:pt x="260" y="458"/>
                    </a:cubicBezTo>
                    <a:cubicBezTo>
                      <a:pt x="263" y="429"/>
                      <a:pt x="243" y="403"/>
                      <a:pt x="214" y="400"/>
                    </a:cubicBezTo>
                    <a:cubicBezTo>
                      <a:pt x="210" y="399"/>
                      <a:pt x="206" y="399"/>
                      <a:pt x="201" y="400"/>
                    </a:cubicBezTo>
                    <a:cubicBezTo>
                      <a:pt x="205" y="371"/>
                      <a:pt x="184" y="345"/>
                      <a:pt x="156" y="341"/>
                    </a:cubicBezTo>
                    <a:cubicBezTo>
                      <a:pt x="141" y="339"/>
                      <a:pt x="125" y="344"/>
                      <a:pt x="114" y="354"/>
                    </a:cubicBezTo>
                    <a:cubicBezTo>
                      <a:pt x="17" y="257"/>
                      <a:pt x="17" y="257"/>
                      <a:pt x="17" y="257"/>
                    </a:cubicBezTo>
                    <a:cubicBezTo>
                      <a:pt x="0" y="273"/>
                      <a:pt x="0" y="273"/>
                      <a:pt x="0" y="273"/>
                    </a:cubicBezTo>
                    <a:cubicBezTo>
                      <a:pt x="97" y="370"/>
                      <a:pt x="97" y="370"/>
                      <a:pt x="97" y="370"/>
                    </a:cubicBezTo>
                    <a:cubicBezTo>
                      <a:pt x="76" y="391"/>
                      <a:pt x="76" y="391"/>
                      <a:pt x="76" y="391"/>
                    </a:cubicBezTo>
                    <a:cubicBezTo>
                      <a:pt x="56" y="412"/>
                      <a:pt x="56" y="446"/>
                      <a:pt x="76" y="466"/>
                    </a:cubicBezTo>
                    <a:cubicBezTo>
                      <a:pt x="86" y="476"/>
                      <a:pt x="100" y="482"/>
                      <a:pt x="114" y="482"/>
                    </a:cubicBezTo>
                    <a:cubicBezTo>
                      <a:pt x="116" y="482"/>
                      <a:pt x="118" y="482"/>
                      <a:pt x="120" y="481"/>
                    </a:cubicBezTo>
                    <a:cubicBezTo>
                      <a:pt x="116" y="510"/>
                      <a:pt x="137" y="536"/>
                      <a:pt x="166" y="540"/>
                    </a:cubicBezTo>
                    <a:cubicBezTo>
                      <a:pt x="168" y="540"/>
                      <a:pt x="170" y="540"/>
                      <a:pt x="172" y="540"/>
                    </a:cubicBezTo>
                    <a:cubicBezTo>
                      <a:pt x="174" y="540"/>
                      <a:pt x="176" y="540"/>
                      <a:pt x="178" y="540"/>
                    </a:cubicBezTo>
                    <a:cubicBezTo>
                      <a:pt x="175" y="568"/>
                      <a:pt x="195" y="595"/>
                      <a:pt x="224" y="598"/>
                    </a:cubicBezTo>
                    <a:cubicBezTo>
                      <a:pt x="226" y="599"/>
                      <a:pt x="229" y="599"/>
                      <a:pt x="231" y="599"/>
                    </a:cubicBezTo>
                    <a:cubicBezTo>
                      <a:pt x="233" y="599"/>
                      <a:pt x="235" y="598"/>
                      <a:pt x="237" y="598"/>
                    </a:cubicBezTo>
                    <a:cubicBezTo>
                      <a:pt x="233" y="627"/>
                      <a:pt x="254" y="653"/>
                      <a:pt x="283" y="657"/>
                    </a:cubicBezTo>
                    <a:cubicBezTo>
                      <a:pt x="299" y="659"/>
                      <a:pt x="315" y="653"/>
                      <a:pt x="327" y="642"/>
                    </a:cubicBezTo>
                    <a:cubicBezTo>
                      <a:pt x="348" y="621"/>
                      <a:pt x="348" y="621"/>
                      <a:pt x="348" y="621"/>
                    </a:cubicBezTo>
                    <a:cubicBezTo>
                      <a:pt x="369" y="642"/>
                      <a:pt x="369" y="642"/>
                      <a:pt x="369" y="642"/>
                    </a:cubicBezTo>
                    <a:cubicBezTo>
                      <a:pt x="389" y="662"/>
                      <a:pt x="423" y="662"/>
                      <a:pt x="444" y="642"/>
                    </a:cubicBezTo>
                    <a:cubicBezTo>
                      <a:pt x="455" y="630"/>
                      <a:pt x="461" y="614"/>
                      <a:pt x="459" y="598"/>
                    </a:cubicBezTo>
                    <a:cubicBezTo>
                      <a:pt x="488" y="602"/>
                      <a:pt x="514" y="581"/>
                      <a:pt x="517" y="552"/>
                    </a:cubicBezTo>
                    <a:cubicBezTo>
                      <a:pt x="518" y="548"/>
                      <a:pt x="518" y="544"/>
                      <a:pt x="517" y="540"/>
                    </a:cubicBezTo>
                    <a:cubicBezTo>
                      <a:pt x="546" y="543"/>
                      <a:pt x="573" y="522"/>
                      <a:pt x="576" y="493"/>
                    </a:cubicBezTo>
                    <a:cubicBezTo>
                      <a:pt x="576" y="489"/>
                      <a:pt x="576" y="485"/>
                      <a:pt x="576" y="481"/>
                    </a:cubicBezTo>
                    <a:cubicBezTo>
                      <a:pt x="605" y="485"/>
                      <a:pt x="631" y="464"/>
                      <a:pt x="634" y="435"/>
                    </a:cubicBezTo>
                    <a:cubicBezTo>
                      <a:pt x="636" y="419"/>
                      <a:pt x="630" y="403"/>
                      <a:pt x="619" y="391"/>
                    </a:cubicBezTo>
                    <a:close/>
                    <a:moveTo>
                      <a:pt x="135" y="450"/>
                    </a:moveTo>
                    <a:cubicBezTo>
                      <a:pt x="123" y="461"/>
                      <a:pt x="104" y="461"/>
                      <a:pt x="93" y="450"/>
                    </a:cubicBezTo>
                    <a:cubicBezTo>
                      <a:pt x="81" y="438"/>
                      <a:pt x="81" y="419"/>
                      <a:pt x="93" y="408"/>
                    </a:cubicBezTo>
                    <a:cubicBezTo>
                      <a:pt x="128" y="373"/>
                      <a:pt x="128" y="373"/>
                      <a:pt x="128" y="373"/>
                    </a:cubicBezTo>
                    <a:cubicBezTo>
                      <a:pt x="140" y="361"/>
                      <a:pt x="158" y="362"/>
                      <a:pt x="170" y="373"/>
                    </a:cubicBezTo>
                    <a:cubicBezTo>
                      <a:pt x="181" y="385"/>
                      <a:pt x="181" y="403"/>
                      <a:pt x="170" y="415"/>
                    </a:cubicBezTo>
                    <a:lnTo>
                      <a:pt x="135" y="450"/>
                    </a:lnTo>
                    <a:close/>
                    <a:moveTo>
                      <a:pt x="193" y="508"/>
                    </a:moveTo>
                    <a:cubicBezTo>
                      <a:pt x="182" y="520"/>
                      <a:pt x="163" y="520"/>
                      <a:pt x="151" y="508"/>
                    </a:cubicBezTo>
                    <a:cubicBezTo>
                      <a:pt x="140" y="497"/>
                      <a:pt x="140" y="478"/>
                      <a:pt x="151" y="466"/>
                    </a:cubicBezTo>
                    <a:cubicBezTo>
                      <a:pt x="186" y="431"/>
                      <a:pt x="186" y="431"/>
                      <a:pt x="186" y="431"/>
                    </a:cubicBezTo>
                    <a:cubicBezTo>
                      <a:pt x="198" y="420"/>
                      <a:pt x="217" y="420"/>
                      <a:pt x="228" y="432"/>
                    </a:cubicBezTo>
                    <a:cubicBezTo>
                      <a:pt x="239" y="443"/>
                      <a:pt x="239" y="462"/>
                      <a:pt x="228" y="473"/>
                    </a:cubicBezTo>
                    <a:lnTo>
                      <a:pt x="193" y="508"/>
                    </a:lnTo>
                    <a:close/>
                    <a:moveTo>
                      <a:pt x="210" y="567"/>
                    </a:moveTo>
                    <a:cubicBezTo>
                      <a:pt x="198" y="555"/>
                      <a:pt x="198" y="536"/>
                      <a:pt x="210" y="525"/>
                    </a:cubicBezTo>
                    <a:cubicBezTo>
                      <a:pt x="245" y="490"/>
                      <a:pt x="245" y="490"/>
                      <a:pt x="245" y="490"/>
                    </a:cubicBezTo>
                    <a:cubicBezTo>
                      <a:pt x="257" y="478"/>
                      <a:pt x="275" y="479"/>
                      <a:pt x="287" y="490"/>
                    </a:cubicBezTo>
                    <a:cubicBezTo>
                      <a:pt x="298" y="502"/>
                      <a:pt x="298" y="520"/>
                      <a:pt x="287" y="532"/>
                    </a:cubicBezTo>
                    <a:cubicBezTo>
                      <a:pt x="252" y="567"/>
                      <a:pt x="252" y="567"/>
                      <a:pt x="252" y="567"/>
                    </a:cubicBezTo>
                    <a:cubicBezTo>
                      <a:pt x="240" y="578"/>
                      <a:pt x="221" y="578"/>
                      <a:pt x="210" y="567"/>
                    </a:cubicBezTo>
                    <a:close/>
                    <a:moveTo>
                      <a:pt x="345" y="590"/>
                    </a:moveTo>
                    <a:cubicBezTo>
                      <a:pt x="310" y="625"/>
                      <a:pt x="310" y="625"/>
                      <a:pt x="310" y="625"/>
                    </a:cubicBezTo>
                    <a:cubicBezTo>
                      <a:pt x="298" y="637"/>
                      <a:pt x="280" y="636"/>
                      <a:pt x="268" y="624"/>
                    </a:cubicBezTo>
                    <a:cubicBezTo>
                      <a:pt x="257" y="613"/>
                      <a:pt x="257" y="595"/>
                      <a:pt x="268" y="583"/>
                    </a:cubicBezTo>
                    <a:cubicBezTo>
                      <a:pt x="303" y="548"/>
                      <a:pt x="303" y="548"/>
                      <a:pt x="303" y="548"/>
                    </a:cubicBezTo>
                    <a:cubicBezTo>
                      <a:pt x="315" y="537"/>
                      <a:pt x="334" y="537"/>
                      <a:pt x="345" y="549"/>
                    </a:cubicBezTo>
                    <a:cubicBezTo>
                      <a:pt x="356" y="560"/>
                      <a:pt x="356" y="579"/>
                      <a:pt x="345" y="5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Freeform 27">
                <a:extLst>
                  <a:ext uri="{FF2B5EF4-FFF2-40B4-BE49-F238E27FC236}">
                    <a16:creationId xmlns:a16="http://schemas.microsoft.com/office/drawing/2014/main" id="{B5C6DCBC-B4FC-4926-B718-F3A83F4A9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" y="2"/>
                <a:ext cx="256" cy="185"/>
              </a:xfrm>
              <a:custGeom>
                <a:avLst/>
                <a:gdLst>
                  <a:gd name="T0" fmla="*/ 88 w 125"/>
                  <a:gd name="T1" fmla="*/ 66 h 90"/>
                  <a:gd name="T2" fmla="*/ 80 w 125"/>
                  <a:gd name="T3" fmla="*/ 63 h 90"/>
                  <a:gd name="T4" fmla="*/ 16 w 125"/>
                  <a:gd name="T5" fmla="*/ 0 h 90"/>
                  <a:gd name="T6" fmla="*/ 0 w 125"/>
                  <a:gd name="T7" fmla="*/ 16 h 90"/>
                  <a:gd name="T8" fmla="*/ 63 w 125"/>
                  <a:gd name="T9" fmla="*/ 79 h 90"/>
                  <a:gd name="T10" fmla="*/ 88 w 125"/>
                  <a:gd name="T11" fmla="*/ 90 h 90"/>
                  <a:gd name="T12" fmla="*/ 125 w 125"/>
                  <a:gd name="T13" fmla="*/ 90 h 90"/>
                  <a:gd name="T14" fmla="*/ 125 w 125"/>
                  <a:gd name="T15" fmla="*/ 66 h 90"/>
                  <a:gd name="T16" fmla="*/ 88 w 125"/>
                  <a:gd name="T17" fmla="*/ 6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5" h="90">
                    <a:moveTo>
                      <a:pt x="88" y="66"/>
                    </a:moveTo>
                    <a:cubicBezTo>
                      <a:pt x="85" y="66"/>
                      <a:pt x="82" y="65"/>
                      <a:pt x="80" y="6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63" y="79"/>
                      <a:pt x="63" y="79"/>
                      <a:pt x="63" y="79"/>
                    </a:cubicBezTo>
                    <a:cubicBezTo>
                      <a:pt x="70" y="86"/>
                      <a:pt x="79" y="90"/>
                      <a:pt x="88" y="90"/>
                    </a:cubicBezTo>
                    <a:cubicBezTo>
                      <a:pt x="125" y="90"/>
                      <a:pt x="125" y="90"/>
                      <a:pt x="125" y="90"/>
                    </a:cubicBezTo>
                    <a:cubicBezTo>
                      <a:pt x="125" y="66"/>
                      <a:pt x="125" y="66"/>
                      <a:pt x="125" y="66"/>
                    </a:cubicBezTo>
                    <a:lnTo>
                      <a:pt x="88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24" name="Rectángulo redondeado 92">
            <a:extLst>
              <a:ext uri="{FF2B5EF4-FFF2-40B4-BE49-F238E27FC236}">
                <a16:creationId xmlns:a16="http://schemas.microsoft.com/office/drawing/2014/main" id="{C7E6460D-AD22-4A2C-9705-7ACF2A515AE0}"/>
              </a:ext>
            </a:extLst>
          </p:cNvPr>
          <p:cNvSpPr/>
          <p:nvPr/>
        </p:nvSpPr>
        <p:spPr>
          <a:xfrm>
            <a:off x="419040" y="1642531"/>
            <a:ext cx="149087" cy="3819681"/>
          </a:xfrm>
          <a:prstGeom prst="rect">
            <a:avLst/>
          </a:prstGeom>
          <a:solidFill>
            <a:srgbClr val="CD99B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CO" dirty="0" err="1"/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C087F063-65F2-49BF-B1EA-2E9E65DE14D2}"/>
              </a:ext>
            </a:extLst>
          </p:cNvPr>
          <p:cNvGrpSpPr/>
          <p:nvPr/>
        </p:nvGrpSpPr>
        <p:grpSpPr>
          <a:xfrm>
            <a:off x="571555" y="3425063"/>
            <a:ext cx="1280307" cy="161462"/>
            <a:chOff x="571555" y="2967218"/>
            <a:chExt cx="1280307" cy="161462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3C5D93F-6514-4A10-B3A5-9E28CE82857E}"/>
                </a:ext>
              </a:extLst>
            </p:cNvPr>
            <p:cNvSpPr txBox="1"/>
            <p:nvPr/>
          </p:nvSpPr>
          <p:spPr>
            <a:xfrm>
              <a:off x="1023862" y="2978811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Brazil</a:t>
              </a: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78945519-0D68-4A8C-B669-D1D6AFA74EE5}"/>
                </a:ext>
              </a:extLst>
            </p:cNvPr>
            <p:cNvSpPr/>
            <p:nvPr/>
          </p:nvSpPr>
          <p:spPr>
            <a:xfrm>
              <a:off x="802451" y="2967218"/>
              <a:ext cx="161462" cy="1614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0735E5C6-6CC6-46C4-93FD-AA1113DBBC39}"/>
                </a:ext>
              </a:extLst>
            </p:cNvPr>
            <p:cNvCxnSpPr>
              <a:cxnSpLocks/>
            </p:cNvCxnSpPr>
            <p:nvPr/>
          </p:nvCxnSpPr>
          <p:spPr>
            <a:xfrm>
              <a:off x="571555" y="3037949"/>
              <a:ext cx="231720" cy="0"/>
            </a:xfrm>
            <a:prstGeom prst="line">
              <a:avLst/>
            </a:prstGeom>
            <a:ln w="63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52657BF9-1953-4C75-AAF8-B21C43FB5FD4}"/>
              </a:ext>
            </a:extLst>
          </p:cNvPr>
          <p:cNvGrpSpPr/>
          <p:nvPr/>
        </p:nvGrpSpPr>
        <p:grpSpPr>
          <a:xfrm>
            <a:off x="571556" y="3680546"/>
            <a:ext cx="1281130" cy="161462"/>
            <a:chOff x="571556" y="3222701"/>
            <a:chExt cx="1281130" cy="161462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453E9FC6-B464-4FE0-B905-A8D6A3F581D5}"/>
                </a:ext>
              </a:extLst>
            </p:cNvPr>
            <p:cNvSpPr txBox="1"/>
            <p:nvPr/>
          </p:nvSpPr>
          <p:spPr>
            <a:xfrm>
              <a:off x="1024686" y="3234294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LATAM (Ex Brazil)*</a:t>
              </a: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55ED27B-DB5C-4481-80F0-70EFAFD0E47C}"/>
                </a:ext>
              </a:extLst>
            </p:cNvPr>
            <p:cNvSpPr/>
            <p:nvPr/>
          </p:nvSpPr>
          <p:spPr>
            <a:xfrm>
              <a:off x="803275" y="3222701"/>
              <a:ext cx="161462" cy="161462"/>
            </a:xfrm>
            <a:prstGeom prst="ellipse">
              <a:avLst/>
            </a:prstGeom>
            <a:solidFill>
              <a:srgbClr val="B3D7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1B49707A-C91F-4DCD-B1D5-069E71A60E88}"/>
                </a:ext>
              </a:extLst>
            </p:cNvPr>
            <p:cNvCxnSpPr>
              <a:cxnSpLocks/>
            </p:cNvCxnSpPr>
            <p:nvPr/>
          </p:nvCxnSpPr>
          <p:spPr>
            <a:xfrm>
              <a:off x="571556" y="3291949"/>
              <a:ext cx="231719" cy="0"/>
            </a:xfrm>
            <a:prstGeom prst="line">
              <a:avLst/>
            </a:prstGeom>
            <a:ln w="6350">
              <a:solidFill>
                <a:srgbClr val="B3D75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03F38CAF-7D01-446E-97DD-7627700C089C}"/>
              </a:ext>
            </a:extLst>
          </p:cNvPr>
          <p:cNvGrpSpPr/>
          <p:nvPr/>
        </p:nvGrpSpPr>
        <p:grpSpPr>
          <a:xfrm>
            <a:off x="571556" y="3945899"/>
            <a:ext cx="1281130" cy="161462"/>
            <a:chOff x="571556" y="3488054"/>
            <a:chExt cx="1281130" cy="161462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A34A9F3-A7E3-4A74-96EB-31BA526BA7CD}"/>
                </a:ext>
              </a:extLst>
            </p:cNvPr>
            <p:cNvSpPr txBox="1"/>
            <p:nvPr/>
          </p:nvSpPr>
          <p:spPr>
            <a:xfrm>
              <a:off x="1024686" y="3499647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Japan*</a:t>
              </a: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08BCA563-AD78-430B-8924-E0238C616326}"/>
                </a:ext>
              </a:extLst>
            </p:cNvPr>
            <p:cNvSpPr/>
            <p:nvPr/>
          </p:nvSpPr>
          <p:spPr>
            <a:xfrm>
              <a:off x="803275" y="3488054"/>
              <a:ext cx="161462" cy="16146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06BABC47-22D4-4FD6-9FCE-FA7C265B62AC}"/>
                </a:ext>
              </a:extLst>
            </p:cNvPr>
            <p:cNvCxnSpPr>
              <a:cxnSpLocks/>
            </p:cNvCxnSpPr>
            <p:nvPr/>
          </p:nvCxnSpPr>
          <p:spPr>
            <a:xfrm>
              <a:off x="571556" y="3562047"/>
              <a:ext cx="23171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BDAF169-1835-4F13-B1DE-4B1F7711C29C}"/>
              </a:ext>
            </a:extLst>
          </p:cNvPr>
          <p:cNvGrpSpPr/>
          <p:nvPr/>
        </p:nvGrpSpPr>
        <p:grpSpPr>
          <a:xfrm>
            <a:off x="571556" y="4223812"/>
            <a:ext cx="1281130" cy="161462"/>
            <a:chOff x="571556" y="3765967"/>
            <a:chExt cx="1281130" cy="161462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799B3802-5004-4E16-BF6D-9883301565EF}"/>
                </a:ext>
              </a:extLst>
            </p:cNvPr>
            <p:cNvSpPr txBox="1"/>
            <p:nvPr/>
          </p:nvSpPr>
          <p:spPr>
            <a:xfrm>
              <a:off x="1024686" y="3777560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China</a:t>
              </a: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60F85FEF-1C0F-4187-B448-18AA2F08490A}"/>
                </a:ext>
              </a:extLst>
            </p:cNvPr>
            <p:cNvSpPr/>
            <p:nvPr/>
          </p:nvSpPr>
          <p:spPr>
            <a:xfrm>
              <a:off x="803275" y="3765967"/>
              <a:ext cx="161462" cy="161462"/>
            </a:xfrm>
            <a:prstGeom prst="ellipse">
              <a:avLst/>
            </a:prstGeom>
            <a:solidFill>
              <a:srgbClr val="9F4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EA48794D-4E5D-41EB-ABEE-8AED19F250F6}"/>
                </a:ext>
              </a:extLst>
            </p:cNvPr>
            <p:cNvCxnSpPr>
              <a:cxnSpLocks/>
            </p:cNvCxnSpPr>
            <p:nvPr/>
          </p:nvCxnSpPr>
          <p:spPr>
            <a:xfrm>
              <a:off x="571556" y="3840589"/>
              <a:ext cx="231719" cy="0"/>
            </a:xfrm>
            <a:prstGeom prst="line">
              <a:avLst/>
            </a:prstGeom>
            <a:ln w="6350">
              <a:solidFill>
                <a:srgbClr val="9F4E7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69B77EF7-447D-49F5-AE41-97D3FF3A40BF}"/>
              </a:ext>
            </a:extLst>
          </p:cNvPr>
          <p:cNvGrpSpPr/>
          <p:nvPr/>
        </p:nvGrpSpPr>
        <p:grpSpPr>
          <a:xfrm>
            <a:off x="571556" y="2900390"/>
            <a:ext cx="1275477" cy="161462"/>
            <a:chOff x="571556" y="4009621"/>
            <a:chExt cx="1275477" cy="161462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98740502-784D-4514-9E52-BC868EDD1620}"/>
                </a:ext>
              </a:extLst>
            </p:cNvPr>
            <p:cNvSpPr txBox="1"/>
            <p:nvPr/>
          </p:nvSpPr>
          <p:spPr>
            <a:xfrm>
              <a:off x="1019033" y="4021214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South Korea</a:t>
              </a: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9AD3E413-9AE2-49FD-A39C-377247F3B13E}"/>
                </a:ext>
              </a:extLst>
            </p:cNvPr>
            <p:cNvSpPr/>
            <p:nvPr/>
          </p:nvSpPr>
          <p:spPr>
            <a:xfrm>
              <a:off x="797622" y="4009621"/>
              <a:ext cx="161462" cy="161462"/>
            </a:xfrm>
            <a:prstGeom prst="ellipse">
              <a:avLst/>
            </a:prstGeom>
            <a:solidFill>
              <a:srgbClr val="F8CB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1DAD2D2-6A63-4515-AC27-9A9EA629BB2A}"/>
                </a:ext>
              </a:extLst>
            </p:cNvPr>
            <p:cNvCxnSpPr>
              <a:cxnSpLocks/>
            </p:cNvCxnSpPr>
            <p:nvPr/>
          </p:nvCxnSpPr>
          <p:spPr>
            <a:xfrm>
              <a:off x="571556" y="4084429"/>
              <a:ext cx="230895" cy="0"/>
            </a:xfrm>
            <a:prstGeom prst="line">
              <a:avLst/>
            </a:prstGeom>
            <a:ln w="6350">
              <a:solidFill>
                <a:srgbClr val="F8CB8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56DEA16C-AB0E-49B2-AB9A-1EFDA9590D97}"/>
              </a:ext>
            </a:extLst>
          </p:cNvPr>
          <p:cNvGrpSpPr/>
          <p:nvPr/>
        </p:nvGrpSpPr>
        <p:grpSpPr>
          <a:xfrm>
            <a:off x="77186" y="2660414"/>
            <a:ext cx="1775500" cy="161462"/>
            <a:chOff x="77186" y="2660414"/>
            <a:chExt cx="1775500" cy="161462"/>
          </a:xfrm>
        </p:grpSpPr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A3F3F2BA-6D99-401A-8784-A9D22E19AE2C}"/>
                </a:ext>
              </a:extLst>
            </p:cNvPr>
            <p:cNvGrpSpPr/>
            <p:nvPr/>
          </p:nvGrpSpPr>
          <p:grpSpPr>
            <a:xfrm>
              <a:off x="571555" y="2660414"/>
              <a:ext cx="1281131" cy="161462"/>
              <a:chOff x="571555" y="2711735"/>
              <a:chExt cx="1281131" cy="161462"/>
            </a:xfrm>
          </p:grpSpPr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92829A65-1165-4B20-B5E7-0DA03B65BABD}"/>
                  </a:ext>
                </a:extLst>
              </p:cNvPr>
              <p:cNvSpPr txBox="1"/>
              <p:nvPr/>
            </p:nvSpPr>
            <p:spPr>
              <a:xfrm>
                <a:off x="1024686" y="2723328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R-Pharm**</a:t>
                </a: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CBBE793-4FFF-46E5-A4E9-642B83227CEE}"/>
                  </a:ext>
                </a:extLst>
              </p:cNvPr>
              <p:cNvSpPr/>
              <p:nvPr/>
            </p:nvSpPr>
            <p:spPr>
              <a:xfrm>
                <a:off x="803275" y="2711735"/>
                <a:ext cx="161462" cy="161462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sz="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41977F99-0B2A-4A2E-9EEF-3D410EE3FE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2787381"/>
                <a:ext cx="231720" cy="0"/>
              </a:xfrm>
              <a:prstGeom prst="line">
                <a:avLst/>
              </a:prstGeom>
              <a:ln w="6350">
                <a:solidFill>
                  <a:schemeClr val="accent3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0" name="Rounded Rectangle 421">
              <a:extLst>
                <a:ext uri="{FF2B5EF4-FFF2-40B4-BE49-F238E27FC236}">
                  <a16:creationId xmlns:a16="http://schemas.microsoft.com/office/drawing/2014/main" id="{CA52115D-4828-4545-84A2-63F1E2529E7B}"/>
                </a:ext>
              </a:extLst>
            </p:cNvPr>
            <p:cNvSpPr/>
            <p:nvPr/>
          </p:nvSpPr>
          <p:spPr>
            <a:xfrm>
              <a:off x="77186" y="2691806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uly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52F198AC-8F0B-4E5D-A001-3A2639714C9F}"/>
              </a:ext>
            </a:extLst>
          </p:cNvPr>
          <p:cNvGrpSpPr/>
          <p:nvPr/>
        </p:nvGrpSpPr>
        <p:grpSpPr>
          <a:xfrm>
            <a:off x="77186" y="1913257"/>
            <a:ext cx="1774555" cy="161462"/>
            <a:chOff x="77186" y="1913257"/>
            <a:chExt cx="1774555" cy="161462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2CF4DDC5-CCBD-436B-8949-202CC97D015F}"/>
                </a:ext>
              </a:extLst>
            </p:cNvPr>
            <p:cNvGrpSpPr/>
            <p:nvPr/>
          </p:nvGrpSpPr>
          <p:grpSpPr>
            <a:xfrm>
              <a:off x="571555" y="1913257"/>
              <a:ext cx="1280186" cy="161462"/>
              <a:chOff x="571555" y="1913257"/>
              <a:chExt cx="1280186" cy="161462"/>
            </a:xfrm>
          </p:grpSpPr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132389EB-BC3B-4BAF-9700-77EBF461B004}"/>
                  </a:ext>
                </a:extLst>
              </p:cNvPr>
              <p:cNvSpPr txBox="1"/>
              <p:nvPr/>
            </p:nvSpPr>
            <p:spPr>
              <a:xfrm>
                <a:off x="1023741" y="1924850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USA*</a:t>
                </a: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E66450F1-3752-4BC9-9E0B-024230964B99}"/>
                  </a:ext>
                </a:extLst>
              </p:cNvPr>
              <p:cNvSpPr/>
              <p:nvPr/>
            </p:nvSpPr>
            <p:spPr>
              <a:xfrm>
                <a:off x="802330" y="1913257"/>
                <a:ext cx="161462" cy="16146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sz="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83" name="Straight Connector 182">
                <a:extLst>
                  <a:ext uri="{FF2B5EF4-FFF2-40B4-BE49-F238E27FC236}">
                    <a16:creationId xmlns:a16="http://schemas.microsoft.com/office/drawing/2014/main" id="{FEED7187-2D42-4E71-90D0-04D89D6895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1981309"/>
                <a:ext cx="23172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0" name="Rounded Rectangle 482">
              <a:extLst>
                <a:ext uri="{FF2B5EF4-FFF2-40B4-BE49-F238E27FC236}">
                  <a16:creationId xmlns:a16="http://schemas.microsoft.com/office/drawing/2014/main" id="{8A8883E1-7CB1-4928-AEC9-381DAEA4B2C3}"/>
                </a:ext>
              </a:extLst>
            </p:cNvPr>
            <p:cNvSpPr/>
            <p:nvPr/>
          </p:nvSpPr>
          <p:spPr>
            <a:xfrm>
              <a:off x="77186" y="1927941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y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307C4925-6365-4E77-8C2A-AE50EEF6EE79}"/>
              </a:ext>
            </a:extLst>
          </p:cNvPr>
          <p:cNvGrpSpPr/>
          <p:nvPr/>
        </p:nvGrpSpPr>
        <p:grpSpPr>
          <a:xfrm>
            <a:off x="77186" y="1669603"/>
            <a:ext cx="1775500" cy="161462"/>
            <a:chOff x="77186" y="1669603"/>
            <a:chExt cx="1775500" cy="161462"/>
          </a:xfrm>
        </p:grpSpPr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397EEFF4-1574-4208-92B9-814D3A80F005}"/>
                </a:ext>
              </a:extLst>
            </p:cNvPr>
            <p:cNvGrpSpPr/>
            <p:nvPr/>
          </p:nvGrpSpPr>
          <p:grpSpPr>
            <a:xfrm>
              <a:off x="571555" y="1669603"/>
              <a:ext cx="1281131" cy="161462"/>
              <a:chOff x="571555" y="1669603"/>
              <a:chExt cx="1281131" cy="161462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BB161C1F-C2A1-445F-B98E-8AAD73B12503}"/>
                  </a:ext>
                </a:extLst>
              </p:cNvPr>
              <p:cNvSpPr txBox="1"/>
              <p:nvPr/>
            </p:nvSpPr>
            <p:spPr>
              <a:xfrm>
                <a:off x="1024686" y="1681196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UK*</a:t>
                </a:r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C8CF3A4D-0FA6-43AE-8E2B-314CC96F4184}"/>
                  </a:ext>
                </a:extLst>
              </p:cNvPr>
              <p:cNvSpPr/>
              <p:nvPr/>
            </p:nvSpPr>
            <p:spPr>
              <a:xfrm>
                <a:off x="803275" y="1669603"/>
                <a:ext cx="161462" cy="161462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sz="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30D89AA1-354F-4A89-A27D-170421A7A2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1747629"/>
                <a:ext cx="231720" cy="0"/>
              </a:xfrm>
              <a:prstGeom prst="line">
                <a:avLst/>
              </a:prstGeom>
              <a:ln w="6350">
                <a:solidFill>
                  <a:schemeClr val="bg2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6" name="Rounded Rectangle 483">
              <a:extLst>
                <a:ext uri="{FF2B5EF4-FFF2-40B4-BE49-F238E27FC236}">
                  <a16:creationId xmlns:a16="http://schemas.microsoft.com/office/drawing/2014/main" id="{F1F0AD85-E91F-42CE-B6F5-D44716AFEC89}"/>
                </a:ext>
              </a:extLst>
            </p:cNvPr>
            <p:cNvSpPr/>
            <p:nvPr/>
          </p:nvSpPr>
          <p:spPr>
            <a:xfrm>
              <a:off x="77186" y="1687310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ril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167E9FB4-F2AD-4A31-A9E5-C45A5F0A3193}"/>
              </a:ext>
            </a:extLst>
          </p:cNvPr>
          <p:cNvGrpSpPr/>
          <p:nvPr/>
        </p:nvGrpSpPr>
        <p:grpSpPr>
          <a:xfrm>
            <a:off x="77186" y="3172143"/>
            <a:ext cx="1775073" cy="161462"/>
            <a:chOff x="77186" y="3172143"/>
            <a:chExt cx="1775073" cy="161462"/>
          </a:xfrm>
        </p:grpSpPr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982A9F78-B4B0-4053-8A54-82A05C91F9D0}"/>
                </a:ext>
              </a:extLst>
            </p:cNvPr>
            <p:cNvGrpSpPr/>
            <p:nvPr/>
          </p:nvGrpSpPr>
          <p:grpSpPr>
            <a:xfrm>
              <a:off x="571555" y="3172143"/>
              <a:ext cx="1280704" cy="161462"/>
              <a:chOff x="571555" y="2176647"/>
              <a:chExt cx="1280704" cy="161462"/>
            </a:xfrm>
          </p:grpSpPr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94BBC294-4BE5-4D47-B631-E9F9118D515B}"/>
                  </a:ext>
                </a:extLst>
              </p:cNvPr>
              <p:cNvSpPr txBox="1"/>
              <p:nvPr/>
            </p:nvSpPr>
            <p:spPr>
              <a:xfrm>
                <a:off x="1024259" y="2188240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Europe*</a:t>
                </a: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4DA2C543-7730-4C3C-B9F3-4DB9886041C1}"/>
                  </a:ext>
                </a:extLst>
              </p:cNvPr>
              <p:cNvSpPr/>
              <p:nvPr/>
            </p:nvSpPr>
            <p:spPr>
              <a:xfrm>
                <a:off x="802848" y="2176647"/>
                <a:ext cx="161462" cy="161462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sz="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B60880E5-F4DF-4F59-90B2-42469B887C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2245469"/>
                <a:ext cx="230896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2" name="Rounded Rectangle 484">
              <a:extLst>
                <a:ext uri="{FF2B5EF4-FFF2-40B4-BE49-F238E27FC236}">
                  <a16:creationId xmlns:a16="http://schemas.microsoft.com/office/drawing/2014/main" id="{74AB3BC1-E0CB-4EA0-AC12-31921312E260}"/>
                </a:ext>
              </a:extLst>
            </p:cNvPr>
            <p:cNvSpPr/>
            <p:nvPr/>
          </p:nvSpPr>
          <p:spPr>
            <a:xfrm>
              <a:off x="77186" y="3182694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gust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DA21E7F3-3A83-4411-9664-570454B25621}"/>
              </a:ext>
            </a:extLst>
          </p:cNvPr>
          <p:cNvGrpSpPr/>
          <p:nvPr/>
        </p:nvGrpSpPr>
        <p:grpSpPr>
          <a:xfrm>
            <a:off x="77186" y="4464487"/>
            <a:ext cx="1775500" cy="161462"/>
            <a:chOff x="77186" y="4464487"/>
            <a:chExt cx="1775500" cy="161462"/>
          </a:xfrm>
        </p:grpSpPr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4D35D798-10D4-4D7E-9041-715446FF0A49}"/>
                </a:ext>
              </a:extLst>
            </p:cNvPr>
            <p:cNvGrpSpPr/>
            <p:nvPr/>
          </p:nvGrpSpPr>
          <p:grpSpPr>
            <a:xfrm>
              <a:off x="571555" y="4464487"/>
              <a:ext cx="1281131" cy="161462"/>
              <a:chOff x="571555" y="4266419"/>
              <a:chExt cx="1281131" cy="161462"/>
            </a:xfrm>
          </p:grpSpPr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F667D809-8EF1-47ED-9C4B-CDE28E9136FC}"/>
                  </a:ext>
                </a:extLst>
              </p:cNvPr>
              <p:cNvSpPr txBox="1"/>
              <p:nvPr/>
            </p:nvSpPr>
            <p:spPr>
              <a:xfrm>
                <a:off x="1024686" y="4278012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Australia*</a:t>
                </a:r>
              </a:p>
            </p:txBody>
          </p: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47F1A68C-B66B-4533-8CD8-981EAA918C31}"/>
                  </a:ext>
                </a:extLst>
              </p:cNvPr>
              <p:cNvSpPr/>
              <p:nvPr/>
            </p:nvSpPr>
            <p:spPr>
              <a:xfrm>
                <a:off x="803275" y="4266419"/>
                <a:ext cx="161462" cy="161462"/>
              </a:xfrm>
              <a:prstGeom prst="ellipse">
                <a:avLst/>
              </a:prstGeom>
              <a:solidFill>
                <a:srgbClr val="3B67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sz="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2D83EF9E-EC55-4260-B859-11EEC79AA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4338429"/>
                <a:ext cx="231720" cy="0"/>
              </a:xfrm>
              <a:prstGeom prst="line">
                <a:avLst/>
              </a:prstGeom>
              <a:ln w="6350">
                <a:solidFill>
                  <a:srgbClr val="3B677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8" name="Rounded Rectangle 485">
              <a:extLst>
                <a:ext uri="{FF2B5EF4-FFF2-40B4-BE49-F238E27FC236}">
                  <a16:creationId xmlns:a16="http://schemas.microsoft.com/office/drawing/2014/main" id="{9B456617-393D-46DF-9F3A-C52A9BD66CBE}"/>
                </a:ext>
              </a:extLst>
            </p:cNvPr>
            <p:cNvSpPr/>
            <p:nvPr/>
          </p:nvSpPr>
          <p:spPr>
            <a:xfrm>
              <a:off x="77186" y="4485345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tember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A13874F4-3E84-4FEE-AE4B-489D04D856FA}"/>
              </a:ext>
            </a:extLst>
          </p:cNvPr>
          <p:cNvGrpSpPr/>
          <p:nvPr/>
        </p:nvGrpSpPr>
        <p:grpSpPr>
          <a:xfrm>
            <a:off x="77186" y="2165787"/>
            <a:ext cx="1780015" cy="161462"/>
            <a:chOff x="77186" y="2165787"/>
            <a:chExt cx="1780015" cy="161462"/>
          </a:xfrm>
        </p:grpSpPr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A8647863-AFA2-48A8-B395-B53F422695ED}"/>
                </a:ext>
              </a:extLst>
            </p:cNvPr>
            <p:cNvGrpSpPr/>
            <p:nvPr/>
          </p:nvGrpSpPr>
          <p:grpSpPr>
            <a:xfrm>
              <a:off x="571555" y="2165787"/>
              <a:ext cx="1285646" cy="161462"/>
              <a:chOff x="571555" y="2209386"/>
              <a:chExt cx="1285646" cy="161462"/>
            </a:xfrm>
          </p:grpSpPr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28967AEC-94E6-4CAF-8A7F-132F94056C85}"/>
                  </a:ext>
                </a:extLst>
              </p:cNvPr>
              <p:cNvSpPr txBox="1"/>
              <p:nvPr/>
            </p:nvSpPr>
            <p:spPr>
              <a:xfrm>
                <a:off x="1029201" y="2220979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SII</a:t>
                </a: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9DF7FA1C-0512-446D-83B7-1815E9567129}"/>
                  </a:ext>
                </a:extLst>
              </p:cNvPr>
              <p:cNvSpPr/>
              <p:nvPr/>
            </p:nvSpPr>
            <p:spPr>
              <a:xfrm>
                <a:off x="807790" y="2209386"/>
                <a:ext cx="161462" cy="161462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endParaRPr lang="en-US" sz="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8057E28C-DA4E-4CC2-BACC-ED1EFA8FB4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2289639"/>
                <a:ext cx="231720" cy="0"/>
              </a:xfrm>
              <a:prstGeom prst="line">
                <a:avLst/>
              </a:prstGeom>
              <a:ln w="6350"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5" name="Rounded Rectangle 473">
              <a:extLst>
                <a:ext uri="{FF2B5EF4-FFF2-40B4-BE49-F238E27FC236}">
                  <a16:creationId xmlns:a16="http://schemas.microsoft.com/office/drawing/2014/main" id="{040131D7-E8EC-4962-AFF9-A126181C9D6F}"/>
                </a:ext>
              </a:extLst>
            </p:cNvPr>
            <p:cNvSpPr/>
            <p:nvPr/>
          </p:nvSpPr>
          <p:spPr>
            <a:xfrm>
              <a:off x="77186" y="2192635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une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A58B7C5E-FA6A-FD4D-AEDF-1D640F3A2415}"/>
              </a:ext>
            </a:extLst>
          </p:cNvPr>
          <p:cNvGrpSpPr/>
          <p:nvPr/>
        </p:nvGrpSpPr>
        <p:grpSpPr>
          <a:xfrm>
            <a:off x="66046" y="5016954"/>
            <a:ext cx="1785695" cy="161462"/>
            <a:chOff x="66046" y="4751194"/>
            <a:chExt cx="1785695" cy="161462"/>
          </a:xfrm>
        </p:grpSpPr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6BCFFAF5-4A23-B344-9A84-A30564CF4CFB}"/>
                </a:ext>
              </a:extLst>
            </p:cNvPr>
            <p:cNvSpPr txBox="1"/>
            <p:nvPr/>
          </p:nvSpPr>
          <p:spPr>
            <a:xfrm>
              <a:off x="1023741" y="4762787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Canada*</a:t>
              </a:r>
            </a:p>
          </p:txBody>
        </p:sp>
        <p:sp>
          <p:nvSpPr>
            <p:cNvPr id="365" name="Oval 364">
              <a:extLst>
                <a:ext uri="{FF2B5EF4-FFF2-40B4-BE49-F238E27FC236}">
                  <a16:creationId xmlns:a16="http://schemas.microsoft.com/office/drawing/2014/main" id="{AA0E1B73-93FA-3643-ACF7-3656BDC2392C}"/>
                </a:ext>
              </a:extLst>
            </p:cNvPr>
            <p:cNvSpPr/>
            <p:nvPr/>
          </p:nvSpPr>
          <p:spPr>
            <a:xfrm>
              <a:off x="802330" y="4751194"/>
              <a:ext cx="161462" cy="161462"/>
            </a:xfrm>
            <a:prstGeom prst="ellipse">
              <a:avLst/>
            </a:prstGeom>
            <a:solidFill>
              <a:srgbClr val="D278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29D6C62D-3E9D-2F4F-A861-838209F3465A}"/>
                </a:ext>
              </a:extLst>
            </p:cNvPr>
            <p:cNvCxnSpPr>
              <a:cxnSpLocks/>
            </p:cNvCxnSpPr>
            <p:nvPr/>
          </p:nvCxnSpPr>
          <p:spPr>
            <a:xfrm>
              <a:off x="560415" y="4827172"/>
              <a:ext cx="231720" cy="0"/>
            </a:xfrm>
            <a:prstGeom prst="line">
              <a:avLst/>
            </a:prstGeom>
            <a:ln w="6350">
              <a:solidFill>
                <a:srgbClr val="D278A9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9" name="Rounded Rectangle 485">
              <a:extLst>
                <a:ext uri="{FF2B5EF4-FFF2-40B4-BE49-F238E27FC236}">
                  <a16:creationId xmlns:a16="http://schemas.microsoft.com/office/drawing/2014/main" id="{2447134D-CE8D-9448-AD66-86D3006F0431}"/>
                </a:ext>
              </a:extLst>
            </p:cNvPr>
            <p:cNvSpPr/>
            <p:nvPr/>
          </p:nvSpPr>
          <p:spPr>
            <a:xfrm>
              <a:off x="66046" y="4776020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vember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3" name="Group 382">
            <a:extLst>
              <a:ext uri="{FF2B5EF4-FFF2-40B4-BE49-F238E27FC236}">
                <a16:creationId xmlns:a16="http://schemas.microsoft.com/office/drawing/2014/main" id="{E3863D47-47DB-EE4B-B0E5-DC93CC92EF67}"/>
              </a:ext>
            </a:extLst>
          </p:cNvPr>
          <p:cNvGrpSpPr/>
          <p:nvPr/>
        </p:nvGrpSpPr>
        <p:grpSpPr>
          <a:xfrm>
            <a:off x="560415" y="5291071"/>
            <a:ext cx="1291326" cy="161462"/>
            <a:chOff x="560415" y="5025311"/>
            <a:chExt cx="1291326" cy="161462"/>
          </a:xfrm>
        </p:grpSpPr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E66E6A23-FA3D-2140-B176-56617A51A090}"/>
                </a:ext>
              </a:extLst>
            </p:cNvPr>
            <p:cNvSpPr txBox="1"/>
            <p:nvPr/>
          </p:nvSpPr>
          <p:spPr>
            <a:xfrm>
              <a:off x="1023741" y="5036904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Israel*</a:t>
              </a:r>
            </a:p>
          </p:txBody>
        </p: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983BA278-9278-B74E-BA18-8DC194EA4F6A}"/>
                </a:ext>
              </a:extLst>
            </p:cNvPr>
            <p:cNvSpPr/>
            <p:nvPr/>
          </p:nvSpPr>
          <p:spPr>
            <a:xfrm>
              <a:off x="802330" y="5025311"/>
              <a:ext cx="161462" cy="161462"/>
            </a:xfrm>
            <a:prstGeom prst="ellipse">
              <a:avLst/>
            </a:prstGeom>
            <a:solidFill>
              <a:srgbClr val="D6D4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8C3D785B-7F62-4A45-91ED-B3491795C839}"/>
                </a:ext>
              </a:extLst>
            </p:cNvPr>
            <p:cNvCxnSpPr>
              <a:cxnSpLocks/>
            </p:cNvCxnSpPr>
            <p:nvPr/>
          </p:nvCxnSpPr>
          <p:spPr>
            <a:xfrm>
              <a:off x="560415" y="5105731"/>
              <a:ext cx="231720" cy="0"/>
            </a:xfrm>
            <a:prstGeom prst="line">
              <a:avLst/>
            </a:prstGeom>
            <a:ln w="6350">
              <a:solidFill>
                <a:srgbClr val="D6D479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8BD4882-6117-824F-B240-66C0240EDB8E}"/>
              </a:ext>
            </a:extLst>
          </p:cNvPr>
          <p:cNvGrpSpPr/>
          <p:nvPr/>
        </p:nvGrpSpPr>
        <p:grpSpPr>
          <a:xfrm>
            <a:off x="74244" y="4750571"/>
            <a:ext cx="1782945" cy="161462"/>
            <a:chOff x="74244" y="4750571"/>
            <a:chExt cx="1782945" cy="161462"/>
          </a:xfrm>
        </p:grpSpPr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E14773FA-914C-C94D-BE17-884AFF3035D9}"/>
                </a:ext>
              </a:extLst>
            </p:cNvPr>
            <p:cNvSpPr txBox="1"/>
            <p:nvPr/>
          </p:nvSpPr>
          <p:spPr>
            <a:xfrm>
              <a:off x="1029189" y="4762164"/>
              <a:ext cx="828000" cy="138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marR="0" lvl="0" indent="0" defTabSz="9143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GB" dirty="0"/>
                <a:t>SE Asia*</a:t>
              </a: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A1C32E1E-5C61-E342-92F6-95DF69BA8B84}"/>
                </a:ext>
              </a:extLst>
            </p:cNvPr>
            <p:cNvSpPr/>
            <p:nvPr/>
          </p:nvSpPr>
          <p:spPr>
            <a:xfrm>
              <a:off x="807778" y="4750571"/>
              <a:ext cx="161462" cy="161462"/>
            </a:xfrm>
            <a:prstGeom prst="ellipse">
              <a:avLst/>
            </a:prstGeom>
            <a:solidFill>
              <a:srgbClr val="8D9A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9" name="Rounded Rectangle 485">
              <a:extLst>
                <a:ext uri="{FF2B5EF4-FFF2-40B4-BE49-F238E27FC236}">
                  <a16:creationId xmlns:a16="http://schemas.microsoft.com/office/drawing/2014/main" id="{AC350448-75D2-CF43-8A0E-A69FECFE8CDF}"/>
                </a:ext>
              </a:extLst>
            </p:cNvPr>
            <p:cNvSpPr/>
            <p:nvPr/>
          </p:nvSpPr>
          <p:spPr>
            <a:xfrm>
              <a:off x="74244" y="4785239"/>
              <a:ext cx="494369" cy="10230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s-CO" sz="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ctober</a:t>
              </a:r>
              <a:endParaRPr lang="es-CO" sz="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7F266FE3-D0B9-FA44-AF07-EBE7996F0121}"/>
                </a:ext>
              </a:extLst>
            </p:cNvPr>
            <p:cNvCxnSpPr>
              <a:cxnSpLocks/>
            </p:cNvCxnSpPr>
            <p:nvPr/>
          </p:nvCxnSpPr>
          <p:spPr>
            <a:xfrm>
              <a:off x="579337" y="4837720"/>
              <a:ext cx="231720" cy="0"/>
            </a:xfrm>
            <a:prstGeom prst="line">
              <a:avLst/>
            </a:prstGeom>
            <a:ln w="6350">
              <a:solidFill>
                <a:srgbClr val="8D9A3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0" name="Group 539">
            <a:extLst>
              <a:ext uri="{FF2B5EF4-FFF2-40B4-BE49-F238E27FC236}">
                <a16:creationId xmlns:a16="http://schemas.microsoft.com/office/drawing/2014/main" id="{6A941F23-7F4E-C241-BE51-96B60024B207}"/>
              </a:ext>
            </a:extLst>
          </p:cNvPr>
          <p:cNvGrpSpPr/>
          <p:nvPr/>
        </p:nvGrpSpPr>
        <p:grpSpPr>
          <a:xfrm>
            <a:off x="2662876" y="6374389"/>
            <a:ext cx="8243719" cy="371697"/>
            <a:chOff x="2662876" y="6374389"/>
            <a:chExt cx="8243719" cy="371697"/>
          </a:xfrm>
        </p:grpSpPr>
        <p:grpSp>
          <p:nvGrpSpPr>
            <p:cNvPr id="541" name="Group 540">
              <a:extLst>
                <a:ext uri="{FF2B5EF4-FFF2-40B4-BE49-F238E27FC236}">
                  <a16:creationId xmlns:a16="http://schemas.microsoft.com/office/drawing/2014/main" id="{917E715B-5230-5449-8944-DC9E1EBA6BF6}"/>
                </a:ext>
              </a:extLst>
            </p:cNvPr>
            <p:cNvGrpSpPr/>
            <p:nvPr/>
          </p:nvGrpSpPr>
          <p:grpSpPr>
            <a:xfrm>
              <a:off x="4907334" y="6393493"/>
              <a:ext cx="5999261" cy="310125"/>
              <a:chOff x="4180902" y="6725675"/>
              <a:chExt cx="6310769" cy="326228"/>
            </a:xfrm>
          </p:grpSpPr>
          <p:sp>
            <p:nvSpPr>
              <p:cNvPr id="546" name="Rectangle 545">
                <a:extLst>
                  <a:ext uri="{FF2B5EF4-FFF2-40B4-BE49-F238E27FC236}">
                    <a16:creationId xmlns:a16="http://schemas.microsoft.com/office/drawing/2014/main" id="{F4F7A930-6CD9-F141-A483-8556D46C01E6}"/>
                  </a:ext>
                </a:extLst>
              </p:cNvPr>
              <p:cNvSpPr/>
              <p:nvPr/>
            </p:nvSpPr>
            <p:spPr>
              <a:xfrm>
                <a:off x="4180902" y="6725675"/>
                <a:ext cx="6310769" cy="3262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lnSpc>
                    <a:spcPct val="90000"/>
                  </a:lnSpc>
                  <a:spcAft>
                    <a:spcPts val="600"/>
                  </a:spcAft>
                </a:pPr>
                <a:endParaRPr lang="en-US" sz="20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7" name="Rectangle 3">
                <a:extLst>
                  <a:ext uri="{FF2B5EF4-FFF2-40B4-BE49-F238E27FC236}">
                    <a16:creationId xmlns:a16="http://schemas.microsoft.com/office/drawing/2014/main" id="{7D567D3A-8613-114C-9D36-E49449E17C7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4194095" y="6758489"/>
                <a:ext cx="3245047" cy="252771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square" lIns="0" tIns="0" rIns="0" bIns="0" anchor="ctr">
                <a:noAutofit/>
              </a:bodyPr>
              <a:lstStyle/>
              <a:p>
                <a:pPr marL="9525" lvl="1" algn="ctr" defTabSz="914377"/>
                <a:r>
                  <a:rPr lang="en-US" sz="7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tinued engagement with intl. orgs and govts to drive equitable access</a:t>
                </a:r>
              </a:p>
            </p:txBody>
          </p:sp>
          <p:pic>
            <p:nvPicPr>
              <p:cNvPr id="548" name="Picture 547">
                <a:extLst>
                  <a:ext uri="{FF2B5EF4-FFF2-40B4-BE49-F238E27FC236}">
                    <a16:creationId xmlns:a16="http://schemas.microsoft.com/office/drawing/2014/main" id="{2416186B-0AB6-744C-ACB7-A828D2F1D2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37278" y="6780716"/>
                <a:ext cx="616513" cy="209926"/>
              </a:xfrm>
              <a:prstGeom prst="rect">
                <a:avLst/>
              </a:prstGeom>
            </p:spPr>
          </p:pic>
          <p:pic>
            <p:nvPicPr>
              <p:cNvPr id="549" name="Picture 10" descr="CEPI: A specialization saving lives • SAEG Engineering Group">
                <a:extLst>
                  <a:ext uri="{FF2B5EF4-FFF2-40B4-BE49-F238E27FC236}">
                    <a16:creationId xmlns:a16="http://schemas.microsoft.com/office/drawing/2014/main" id="{F7D1D786-7FCD-9F4C-8F80-EE5C6A9C0E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hqprint">
                <a:extLst>
                  <a:ext uri="{BEBA8EAE-BF5A-486C-A8C5-ECC9F3942E4B}">
                    <a14:imgProps xmlns:a14="http://schemas.microsoft.com/office/drawing/2010/main">
                      <a14:imgLayer r:embed="rId23">
                        <a14:imgEffect>
                          <a14:brightnessContrast bright="-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26944" y="6772249"/>
                <a:ext cx="443286" cy="2107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50" name="Picture 549">
                <a:extLst>
                  <a:ext uri="{FF2B5EF4-FFF2-40B4-BE49-F238E27FC236}">
                    <a16:creationId xmlns:a16="http://schemas.microsoft.com/office/drawing/2014/main" id="{930E6CAE-BB2A-E141-B00A-34C3079169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18220" y="6777091"/>
                <a:ext cx="754741" cy="210127"/>
              </a:xfrm>
              <a:prstGeom prst="rect">
                <a:avLst/>
              </a:prstGeom>
            </p:spPr>
          </p:pic>
        </p:grpSp>
        <p:grpSp>
          <p:nvGrpSpPr>
            <p:cNvPr id="542" name="Group 541">
              <a:extLst>
                <a:ext uri="{FF2B5EF4-FFF2-40B4-BE49-F238E27FC236}">
                  <a16:creationId xmlns:a16="http://schemas.microsoft.com/office/drawing/2014/main" id="{9D45E732-8DBA-B446-9220-9E0311F11157}"/>
                </a:ext>
              </a:extLst>
            </p:cNvPr>
            <p:cNvGrpSpPr/>
            <p:nvPr/>
          </p:nvGrpSpPr>
          <p:grpSpPr>
            <a:xfrm>
              <a:off x="2836268" y="6374389"/>
              <a:ext cx="2058341" cy="371697"/>
              <a:chOff x="2833061" y="6205309"/>
              <a:chExt cx="2058341" cy="371697"/>
            </a:xfrm>
          </p:grpSpPr>
          <p:sp>
            <p:nvSpPr>
              <p:cNvPr id="544" name="TextBox 543">
                <a:extLst>
                  <a:ext uri="{FF2B5EF4-FFF2-40B4-BE49-F238E27FC236}">
                    <a16:creationId xmlns:a16="http://schemas.microsoft.com/office/drawing/2014/main" id="{011E2937-6405-8C4F-83C4-92A23295994E}"/>
                  </a:ext>
                </a:extLst>
              </p:cNvPr>
              <p:cNvSpPr txBox="1"/>
              <p:nvPr/>
            </p:nvSpPr>
            <p:spPr>
              <a:xfrm>
                <a:off x="2915826" y="6205309"/>
                <a:ext cx="1444698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GB" dirty="0"/>
                  <a:t>CEPI-Gavi / COVAX </a:t>
                </a:r>
                <a:r>
                  <a:rPr lang="en-GB" b="0" dirty="0"/>
                  <a:t>- 300m doses</a:t>
                </a:r>
              </a:p>
            </p:txBody>
          </p:sp>
          <p:sp>
            <p:nvSpPr>
              <p:cNvPr id="545" name="Rectangle 544">
                <a:extLst>
                  <a:ext uri="{FF2B5EF4-FFF2-40B4-BE49-F238E27FC236}">
                    <a16:creationId xmlns:a16="http://schemas.microsoft.com/office/drawing/2014/main" id="{A3F098E6-3572-F04D-A766-5B21547C85BE}"/>
                  </a:ext>
                </a:extLst>
              </p:cNvPr>
              <p:cNvSpPr/>
              <p:nvPr/>
            </p:nvSpPr>
            <p:spPr>
              <a:xfrm>
                <a:off x="2833061" y="6300007"/>
                <a:ext cx="205834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600" dirty="0">
                    <a:latin typeface="Arial" panose="020B0604020202020204" pitchFamily="34" charset="0"/>
                    <a:cs typeface="Arial" panose="020B0604020202020204" pitchFamily="34" charset="0"/>
                  </a:rPr>
                  <a:t>= Countries that have signed commitment  </a:t>
                </a:r>
              </a:p>
              <a:p>
                <a:r>
                  <a:rPr lang="en-GB" sz="600" dirty="0">
                    <a:latin typeface="Arial" panose="020B0604020202020204" pitchFamily="34" charset="0"/>
                    <a:cs typeface="Arial" panose="020B0604020202020204" pitchFamily="34" charset="0"/>
                  </a:rPr>
                  <a:t>   agreements to the COVAX Facility as of October 29</a:t>
                </a:r>
              </a:p>
            </p:txBody>
          </p:sp>
        </p:grpSp>
        <p:sp>
          <p:nvSpPr>
            <p:cNvPr id="543" name="Oval 542">
              <a:extLst>
                <a:ext uri="{FF2B5EF4-FFF2-40B4-BE49-F238E27FC236}">
                  <a16:creationId xmlns:a16="http://schemas.microsoft.com/office/drawing/2014/main" id="{773CB07F-1A0F-044C-A7E8-33ED17078467}"/>
                </a:ext>
              </a:extLst>
            </p:cNvPr>
            <p:cNvSpPr/>
            <p:nvPr/>
          </p:nvSpPr>
          <p:spPr>
            <a:xfrm>
              <a:off x="2662876" y="6411639"/>
              <a:ext cx="185977" cy="185977"/>
            </a:xfrm>
            <a:prstGeom prst="ellipse">
              <a:avLst/>
            </a:prstGeom>
            <a:pattFill prst="wd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 err="1"/>
                <a:t> </a:t>
              </a: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8D4E21B0-09D6-284E-B910-38B88F33644F}"/>
              </a:ext>
            </a:extLst>
          </p:cNvPr>
          <p:cNvGrpSpPr/>
          <p:nvPr/>
        </p:nvGrpSpPr>
        <p:grpSpPr>
          <a:xfrm>
            <a:off x="571555" y="2416799"/>
            <a:ext cx="1274936" cy="161462"/>
            <a:chOff x="571555" y="2416799"/>
            <a:chExt cx="1274936" cy="161462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DA614E00-719E-4419-8B63-17B59FE7D916}"/>
                </a:ext>
              </a:extLst>
            </p:cNvPr>
            <p:cNvGrpSpPr/>
            <p:nvPr/>
          </p:nvGrpSpPr>
          <p:grpSpPr>
            <a:xfrm>
              <a:off x="571555" y="2427538"/>
              <a:ext cx="1274936" cy="138277"/>
              <a:chOff x="571555" y="2176801"/>
              <a:chExt cx="1274936" cy="138277"/>
            </a:xfrm>
          </p:grpSpPr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7ABD5D44-7EA2-464B-BB6C-BA00719A95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555" y="2241539"/>
                <a:ext cx="231720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E88281A7-C33F-4986-A2E1-57270C8DA7BA}"/>
                  </a:ext>
                </a:extLst>
              </p:cNvPr>
              <p:cNvSpPr txBox="1"/>
              <p:nvPr/>
            </p:nvSpPr>
            <p:spPr>
              <a:xfrm>
                <a:off x="1018491" y="2176801"/>
                <a:ext cx="828000" cy="138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R="0" lvl="0" indent="0" defTabSz="91437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ZA" dirty="0"/>
                  <a:t>CEPI-GAVI COVAX</a:t>
                </a:r>
                <a:endParaRPr lang="en-GB" dirty="0"/>
              </a:p>
            </p:txBody>
          </p:sp>
        </p:grpSp>
        <p:sp>
          <p:nvSpPr>
            <p:cNvPr id="554" name="Oval 553">
              <a:extLst>
                <a:ext uri="{FF2B5EF4-FFF2-40B4-BE49-F238E27FC236}">
                  <a16:creationId xmlns:a16="http://schemas.microsoft.com/office/drawing/2014/main" id="{670F2AC0-CF25-064D-B9B3-CFF479EF1050}"/>
                </a:ext>
              </a:extLst>
            </p:cNvPr>
            <p:cNvSpPr/>
            <p:nvPr/>
          </p:nvSpPr>
          <p:spPr>
            <a:xfrm>
              <a:off x="807790" y="2416799"/>
              <a:ext cx="161462" cy="161462"/>
            </a:xfrm>
            <a:prstGeom prst="ellipse">
              <a:avLst/>
            </a:prstGeom>
            <a:pattFill prst="wd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106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100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20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7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8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20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1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20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3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4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600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70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2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90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0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2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2000"/>
                            </p:stCondLst>
                            <p:childTnLst>
                              <p:par>
                                <p:cTn id="8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3000"/>
                            </p:stCondLst>
                            <p:childTnLst>
                              <p:par>
                                <p:cTn id="8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2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5000"/>
                            </p:stCondLst>
                            <p:childTnLst>
                              <p:par>
                                <p:cTn id="9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26000"/>
                            </p:stCondLst>
                            <p:childTnLst>
                              <p:par>
                                <p:cTn id="9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28000"/>
                            </p:stCondLst>
                            <p:childTnLst>
                              <p:par>
                                <p:cTn id="10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9000"/>
                            </p:stCondLst>
                            <p:childTnLst>
                              <p:par>
                                <p:cTn id="10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31000"/>
                            </p:stCondLst>
                            <p:childTnLst>
                              <p:par>
                                <p:cTn id="1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32000"/>
                            </p:stCondLst>
                            <p:childTnLst>
                              <p:par>
                                <p:cTn id="1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20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34000"/>
                            </p:stCondLst>
                            <p:childTnLst>
                              <p:par>
                                <p:cTn id="12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35000"/>
                            </p:stCondLst>
                            <p:childTnLst>
                              <p:par>
                                <p:cTn id="13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37000"/>
                            </p:stCondLst>
                            <p:childTnLst>
                              <p:par>
                                <p:cTn id="1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37500"/>
                            </p:stCondLst>
                            <p:childTnLst>
                              <p:par>
                                <p:cTn id="14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6" dur="2000"/>
                                        <p:tgtEl>
                                          <p:spTgt spid="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39500"/>
                            </p:stCondLst>
                            <p:childTnLst>
                              <p:par>
                                <p:cTn id="14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40500"/>
                            </p:stCondLst>
                            <p:childTnLst>
                              <p:par>
                                <p:cTn id="15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3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7" dur="20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42500"/>
                            </p:stCondLst>
                            <p:childTnLst>
                              <p:par>
                                <p:cTn id="15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43500"/>
                            </p:stCondLst>
                            <p:childTnLst>
                              <p:par>
                                <p:cTn id="16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10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45000"/>
                            </p:stCondLst>
                            <p:childTnLst>
                              <p:par>
                                <p:cTn id="16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1000"/>
                                        <p:tgtEl>
                                          <p:spTgt spid="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2" dur="2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ASTRAZENECA STANDARD TEMPLATE" val="EvVFCk6W"/>
  <p:tag name="ARTICULATE_DESIGN_ID_1_ASTRAZENECA STANDARD TEMPLATE" val="kGJp0GDe"/>
  <p:tag name="ARTICULATE_DESIGN_ID_ALTERNATIVE LAYOUTS" val="Bt42LpTg"/>
  <p:tag name="ARTICULATE_DESIGN_ID_1_ALTERNATIVE LAYOUTS" val="Pu40bbUa"/>
  <p:tag name="ARTICULATE_DESIGN_ID_AGENDAS" val="ut6QGGsg"/>
  <p:tag name="ARTICULATE_DESIGN_ID_1_AGENDAS" val="zZqOLfMe"/>
  <p:tag name="ARTICULATE_DESIGN_ID_KEY MESSAGE LAYOUTS" val="EG1WQXxn"/>
  <p:tag name="ARTICULATE_DESIGN_ID_LISTS" val="M0QWvWS1"/>
  <p:tag name="ARTICULATE_DESIGN_ID_1_KEY MESSAGE LAYOUTS" val="ks627C6Q"/>
  <p:tag name="ARTICULATE_DESIGN_ID_DIAGRAMS" val="EHtI07Fq"/>
  <p:tag name="ARTICULATE_SLIDE_THUMBNAIL_REFRESH" val="1"/>
  <p:tag name="ARTICULATE_DESIGN_ID_ALTERNATIVE CONTENT LAYOUTS" val="ywJnDDcd"/>
  <p:tag name="ARTICULATE_DESIGN_ID_PERSONNEL" val="nHHLeDJ2"/>
  <p:tag name="ARTICULATE_DESIGN_ID_STAFF AND ORGANISATIONS" val="fzkdDkSo"/>
  <p:tag name="ARTICULATE_DESIGN_ID_1_ALTERNATIVE CONTENT LAYOUTS" val="iY0BipYY"/>
  <p:tag name="ARTICULATE_DESIGN_ID_1_LISTS" val="vezrIkHU"/>
  <p:tag name="ARTICULATE_DESIGN_ID_1_STAFF AND ORGANISATIONS" val="gu0rVs6s"/>
  <p:tag name="BRANDIN_CONFIG" val="CONFIG.INI"/>
  <p:tag name="BRANDIN_CHARTS" val="PROCESS CHARTS"/>
  <p:tag name="BRANDIN_RULES" val="RUN RULES"/>
  <p:tag name="ARTICULATE_DESIGN_ID_LOGO HOLDERS" val="frTQuPG5"/>
  <p:tag name="ARTICULATE_DESIGN_ID_SPEAKERS" val="lTM5UYkU"/>
  <p:tag name="ARTICULATE_DESIGN_ID_TEXT LAYOUTS" val="4lYw8SxY"/>
  <p:tag name="ARTICULATE_DESIGN_ID_KEY STATEMENTS" val="PiA9xBfC"/>
  <p:tag name="ARTICULATE_DESIGN_ID_TEXT WITH IMAGE" val="bQgCS8wS"/>
  <p:tag name="ARTICULATE_DESIGN_ID_TEXT WITH IMAGE LAYOUTS" val="4MQoe47W"/>
  <p:tag name="ARTICULATE_PROJECT_OPEN" val="0"/>
  <p:tag name="ARTICULATE_SLIDE_COUNT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bxFkvNl0iWutI4gj_2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AstraZeneca Standard Template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784DE158-E169-40FF-AA95-037CA8859988}"/>
    </a:ext>
  </a:extLst>
</a:theme>
</file>

<file path=ppt/theme/theme10.xml><?xml version="1.0" encoding="utf-8"?>
<a:theme xmlns:a="http://schemas.openxmlformats.org/drawingml/2006/main" name="Office Theme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ternative Content Layout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A7328BD2-B72B-41A3-A03D-80C4D42D14B5}"/>
    </a:ext>
  </a:extLst>
</a:theme>
</file>

<file path=ppt/theme/theme3.xml><?xml version="1.0" encoding="utf-8"?>
<a:theme xmlns:a="http://schemas.openxmlformats.org/drawingml/2006/main" name="Text with Image Layout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0F4D0476-A23A-4477-9423-ECC601E14BF3}"/>
    </a:ext>
  </a:extLst>
</a:theme>
</file>

<file path=ppt/theme/theme4.xml><?xml version="1.0" encoding="utf-8"?>
<a:theme xmlns:a="http://schemas.openxmlformats.org/drawingml/2006/main" name="Key Statement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A20122B3-08C5-4E3B-BB95-597218B2DFBB}"/>
    </a:ext>
  </a:extLst>
</a:theme>
</file>

<file path=ppt/theme/theme5.xml><?xml version="1.0" encoding="utf-8"?>
<a:theme xmlns:a="http://schemas.openxmlformats.org/drawingml/2006/main" name="List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D4CBD932-C88D-4E0F-8B53-BD46AE7AF4D7}"/>
    </a:ext>
  </a:extLst>
</a:theme>
</file>

<file path=ppt/theme/theme6.xml><?xml version="1.0" encoding="utf-8"?>
<a:theme xmlns:a="http://schemas.openxmlformats.org/drawingml/2006/main" name="Agenda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591C8BDA-6229-44A5-88EC-1313F62F2973}"/>
    </a:ext>
  </a:extLst>
</a:theme>
</file>

<file path=ppt/theme/theme7.xml><?xml version="1.0" encoding="utf-8"?>
<a:theme xmlns:a="http://schemas.openxmlformats.org/drawingml/2006/main" name="Speaker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7EAE0CA3-7936-4215-B1E6-1481B4A5410E}"/>
    </a:ext>
  </a:extLst>
</a:theme>
</file>

<file path=ppt/theme/theme8.xml><?xml version="1.0" encoding="utf-8"?>
<a:theme xmlns:a="http://schemas.openxmlformats.org/drawingml/2006/main" name="Logo Holder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B0C2BEAF-A6A0-4F6F-AFF2-390DAE2BB62C}"/>
    </a:ext>
  </a:extLst>
</a:theme>
</file>

<file path=ppt/theme/theme9.xml><?xml version="1.0" encoding="utf-8"?>
<a:theme xmlns:a="http://schemas.openxmlformats.org/drawingml/2006/main" name="Diagrams">
  <a:themeElements>
    <a:clrScheme name="AstraZeneca 2020">
      <a:dk1>
        <a:srgbClr val="3F4444"/>
      </a:dk1>
      <a:lt1>
        <a:srgbClr val="FFFFFF"/>
      </a:lt1>
      <a:dk2>
        <a:srgbClr val="003865"/>
      </a:dk2>
      <a:lt2>
        <a:srgbClr val="9DB0AC"/>
      </a:lt2>
      <a:accent1>
        <a:srgbClr val="830051"/>
      </a:accent1>
      <a:accent2>
        <a:srgbClr val="F0AB00"/>
      </a:accent2>
      <a:accent3>
        <a:srgbClr val="D0006F"/>
      </a:accent3>
      <a:accent4>
        <a:srgbClr val="3C1053"/>
      </a:accent4>
      <a:accent5>
        <a:srgbClr val="C4D600"/>
      </a:accent5>
      <a:accent6>
        <a:srgbClr val="68D2DF"/>
      </a:accent6>
      <a:hlink>
        <a:srgbClr val="68D2DF"/>
      </a:hlink>
      <a:folHlink>
        <a:srgbClr val="D0006F"/>
      </a:folHlink>
    </a:clrScheme>
    <a:fontScheme name="Astra Zeneca">
      <a:majorFont>
        <a:latin typeface="Calisto M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rmAutofit/>
      </a:bodyPr>
      <a:lstStyle>
        <a:defPPr algn="ctr">
          <a:lnSpc>
            <a:spcPct val="90000"/>
          </a:lnSpc>
          <a:spcAft>
            <a:spcPts val="6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600"/>
          </a:spcAft>
          <a:defRPr dirty="0" err="1" smtClean="0"/>
        </a:defPPr>
      </a:lstStyle>
    </a:txDef>
  </a:objectDefaults>
  <a:extraClrSchemeLst/>
  <a:custClrLst>
    <a:custClr name="White">
      <a:srgbClr val="FFFFFF"/>
    </a:custClr>
    <a:custClr name="Graphite, Lighter 60%">
      <a:srgbClr val="B2B4B4"/>
    </a:custClr>
    <a:custClr name="Platinum, Lighter 60%">
      <a:srgbClr val="D8DFDE"/>
    </a:custClr>
    <a:custClr name="Navy, Lighter 60%">
      <a:srgbClr val="99AFC1"/>
    </a:custClr>
    <a:custClr name="Mulberry, Lighter 60%">
      <a:srgbClr val="CD99B9"/>
    </a:custClr>
    <a:custClr name="Gold, Lighter 60%">
      <a:srgbClr val="F9DD99"/>
    </a:custClr>
    <a:custClr name="Magenta, Lighter 60%">
      <a:srgbClr val="EC99C5"/>
    </a:custClr>
    <a:custClr name="Purple, Lighter 60%">
      <a:srgbClr val="B19FBA"/>
    </a:custClr>
    <a:custClr name="Lime Green, Lighter 60%">
      <a:srgbClr val="E7EF99"/>
    </a:custClr>
    <a:custClr name="Light Blue, Lighter 60%">
      <a:srgbClr val="C3EDF2"/>
    </a:custClr>
    <a:custClr name="White">
      <a:srgbClr val="FFFFFF"/>
    </a:custClr>
    <a:custClr name="Graphite, Lighter 40%">
      <a:srgbClr val="8C8F8F"/>
    </a:custClr>
    <a:custClr name="Platinum, Lighter 40%">
      <a:srgbClr val="C4D0CD"/>
    </a:custClr>
    <a:custClr name="Navy, Lighter 40%">
      <a:srgbClr val="6688A3"/>
    </a:custClr>
    <a:custClr name="Mulberry, Lighter 40%">
      <a:srgbClr val="B56697"/>
    </a:custClr>
    <a:custClr name="Gold, Lighter 40%">
      <a:srgbClr val="F6CD66"/>
    </a:custClr>
    <a:custClr name="Magenta, Lighter 40%">
      <a:srgbClr val="E366A9"/>
    </a:custClr>
    <a:custClr name="Purple, Lighter 40%">
      <a:srgbClr val="8A7098"/>
    </a:custClr>
    <a:custClr name="Lime Green, Lighter 40%">
      <a:srgbClr val="DCE666"/>
    </a:custClr>
    <a:custClr name="Light Blue, Lighter 40%">
      <a:srgbClr val="A4E4EC"/>
    </a:custClr>
    <a:custClr name="White">
      <a:srgbClr val="FFFFFF"/>
    </a:custClr>
    <a:custClr name="Graphite, Darker 40%">
      <a:srgbClr val="262929"/>
    </a:custClr>
    <a:custClr name="Platinum, Darker 40%">
      <a:srgbClr val="5E6A67"/>
    </a:custClr>
    <a:custClr name="Navy, Darker 40%">
      <a:srgbClr val="00223D"/>
    </a:custClr>
    <a:custClr name="Mulberry, Darker 40%">
      <a:srgbClr val="4F0031"/>
    </a:custClr>
    <a:custClr name="Gold, Darker 40%">
      <a:srgbClr val="906700"/>
    </a:custClr>
    <a:custClr name="Magenta, Darker 40%">
      <a:srgbClr val="7D0043"/>
    </a:custClr>
    <a:custClr name="Purple, Darker 40%">
      <a:srgbClr val="240A32"/>
    </a:custClr>
    <a:custClr name="Lime Green, Darker 40%">
      <a:srgbClr val="768000"/>
    </a:custClr>
    <a:custClr name="Light Blue, Darker 40%">
      <a:srgbClr val="3E7E86"/>
    </a:custClr>
    <a:custClr name="White">
      <a:srgbClr val="FFFFFF"/>
    </a:custClr>
    <a:custClr name="Graphite, Darker 60%">
      <a:srgbClr val="191B1B"/>
    </a:custClr>
    <a:custClr name="Platinum, Darker 60%">
      <a:srgbClr val="3F4645"/>
    </a:custClr>
    <a:custClr name="Navy, Darker 60%">
      <a:srgbClr val="001628"/>
    </a:custClr>
    <a:custClr name="Mulberry, Darker 60%">
      <a:srgbClr val="340020"/>
    </a:custClr>
    <a:custClr name="Gold, Darker 60%">
      <a:srgbClr val="604400"/>
    </a:custClr>
    <a:custClr name="Magenta, Darker 60%">
      <a:srgbClr val="53002C"/>
    </a:custClr>
    <a:custClr name="Purple, Darker 60%">
      <a:srgbClr val="180621"/>
    </a:custClr>
    <a:custClr name="Lime Green, Darker 60%">
      <a:srgbClr val="4E5600"/>
    </a:custClr>
    <a:custClr name="Light Blue, Darker 60%">
      <a:srgbClr val="2A5459"/>
    </a:custClr>
  </a:custClrLst>
  <a:extLst>
    <a:ext uri="{05A4C25C-085E-4340-85A3-A5531E510DB2}">
      <thm15:themeFamily xmlns:thm15="http://schemas.microsoft.com/office/thememl/2012/main" name="blank.pptx" id="{58C4F530-298E-469E-ACF0-23EF771974F7}" vid="{1B627242-3C5F-462B-8998-35F55C5DF27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BrandIn lastLayout="1"/>
</file>

<file path=customXml/item10.xml><?xml version="1.0" encoding="utf-8"?>
<BrandIn lastLayout="1"/>
</file>

<file path=customXml/item11.xml><?xml version="1.0" encoding="utf-8"?>
<BrandIn lastLayout="1"/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BrandIn lastLayout="1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99DB2226E9054EAA931B5CD736B336" ma:contentTypeVersion="12" ma:contentTypeDescription="Create a new document." ma:contentTypeScope="" ma:versionID="5da223aa5ec6494b69abd43dff3bf590">
  <xsd:schema xmlns:xsd="http://www.w3.org/2001/XMLSchema" xmlns:xs="http://www.w3.org/2001/XMLSchema" xmlns:p="http://schemas.microsoft.com/office/2006/metadata/properties" xmlns:ns2="0c9131b5-4f7a-4fc7-9a57-73dee8b9041c" xmlns:ns3="a5bf85ab-5b89-45d5-812d-d881043611a5" targetNamespace="http://schemas.microsoft.com/office/2006/metadata/properties" ma:root="true" ma:fieldsID="3af6329a55beb8c56550e1368f9c5d41" ns2:_="" ns3:_="">
    <xsd:import namespace="0c9131b5-4f7a-4fc7-9a57-73dee8b9041c"/>
    <xsd:import namespace="a5bf85ab-5b89-45d5-812d-d88104361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9131b5-4f7a-4fc7-9a57-73dee8b904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f85ab-5b89-45d5-812d-d881043611a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BrandIn lastLayout="1"/>
</file>

<file path=customXml/item5.xml><?xml version="1.0" encoding="utf-8"?>
<BrandIn lastLayout="1"/>
</file>

<file path=customXml/item6.xml><?xml version="1.0" encoding="utf-8"?>
<BrandIn lastLayout="1"/>
</file>

<file path=customXml/item7.xml><?xml version="1.0" encoding="utf-8"?>
<BrandIn lastLayout="1"/>
</file>

<file path=customXml/item8.xml><?xml version="1.0" encoding="utf-8"?>
<BrandIn lastLayout="1"/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B22CCA-FF5C-41A5-90F8-AC554C621565}">
  <ds:schemaRefs/>
</ds:datastoreItem>
</file>

<file path=customXml/itemProps10.xml><?xml version="1.0" encoding="utf-8"?>
<ds:datastoreItem xmlns:ds="http://schemas.openxmlformats.org/officeDocument/2006/customXml" ds:itemID="{D8B9FEFC-EE17-4515-A8D9-AD44478F0ED6}">
  <ds:schemaRefs/>
</ds:datastoreItem>
</file>

<file path=customXml/itemProps11.xml><?xml version="1.0" encoding="utf-8"?>
<ds:datastoreItem xmlns:ds="http://schemas.openxmlformats.org/officeDocument/2006/customXml" ds:itemID="{65C99F1C-FB57-46A7-9B3A-75339810ED4F}">
  <ds:schemaRefs/>
</ds:datastoreItem>
</file>

<file path=customXml/itemProps12.xml><?xml version="1.0" encoding="utf-8"?>
<ds:datastoreItem xmlns:ds="http://schemas.openxmlformats.org/officeDocument/2006/customXml" ds:itemID="{2AD41FD2-E42A-4705-AA0D-85221307178A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elements/1.1/"/>
    <ds:schemaRef ds:uri="a5bf85ab-5b89-45d5-812d-d881043611a5"/>
    <ds:schemaRef ds:uri="0c9131b5-4f7a-4fc7-9a57-73dee8b9041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B6B0787-9734-4296-B5D3-EC4759041B1D}">
  <ds:schemaRefs/>
</ds:datastoreItem>
</file>

<file path=customXml/itemProps3.xml><?xml version="1.0" encoding="utf-8"?>
<ds:datastoreItem xmlns:ds="http://schemas.openxmlformats.org/officeDocument/2006/customXml" ds:itemID="{01003D91-D967-4905-9830-369C075D7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9131b5-4f7a-4fc7-9a57-73dee8b9041c"/>
    <ds:schemaRef ds:uri="a5bf85ab-5b89-45d5-812d-d881043611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9377F0E-6DE4-47A6-94F7-B5269FE2FCE0}">
  <ds:schemaRefs/>
</ds:datastoreItem>
</file>

<file path=customXml/itemProps5.xml><?xml version="1.0" encoding="utf-8"?>
<ds:datastoreItem xmlns:ds="http://schemas.openxmlformats.org/officeDocument/2006/customXml" ds:itemID="{F6414CD9-7AB0-4F44-807F-DF912C5E1A13}">
  <ds:schemaRefs/>
</ds:datastoreItem>
</file>

<file path=customXml/itemProps6.xml><?xml version="1.0" encoding="utf-8"?>
<ds:datastoreItem xmlns:ds="http://schemas.openxmlformats.org/officeDocument/2006/customXml" ds:itemID="{60BB04B5-40D2-4FDA-9336-7994D079CE4F}">
  <ds:schemaRefs/>
</ds:datastoreItem>
</file>

<file path=customXml/itemProps7.xml><?xml version="1.0" encoding="utf-8"?>
<ds:datastoreItem xmlns:ds="http://schemas.openxmlformats.org/officeDocument/2006/customXml" ds:itemID="{82D07F71-FAE4-4758-BC0B-60609551B1CC}">
  <ds:schemaRefs/>
</ds:datastoreItem>
</file>

<file path=customXml/itemProps8.xml><?xml version="1.0" encoding="utf-8"?>
<ds:datastoreItem xmlns:ds="http://schemas.openxmlformats.org/officeDocument/2006/customXml" ds:itemID="{CE231AE7-799C-476B-948C-13293BA93F71}">
  <ds:schemaRefs/>
</ds:datastoreItem>
</file>

<file path=customXml/itemProps9.xml><?xml version="1.0" encoding="utf-8"?>
<ds:datastoreItem xmlns:ds="http://schemas.openxmlformats.org/officeDocument/2006/customXml" ds:itemID="{39C02748-3634-4A24-AAB5-5A1F224A40F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89</TotalTime>
  <Words>121</Words>
  <Application>Microsoft Office PowerPoint</Application>
  <PresentationFormat>Widescreen</PresentationFormat>
  <Paragraphs>4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9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Calibri</vt:lpstr>
      <vt:lpstr>Calisto MT</vt:lpstr>
      <vt:lpstr>AstraZeneca Standard Template</vt:lpstr>
      <vt:lpstr>Alternative Content Layouts</vt:lpstr>
      <vt:lpstr>Text with Image Layouts</vt:lpstr>
      <vt:lpstr>Key Statements</vt:lpstr>
      <vt:lpstr>Lists</vt:lpstr>
      <vt:lpstr>Agendas</vt:lpstr>
      <vt:lpstr>Speakers</vt:lpstr>
      <vt:lpstr>Logo Holders</vt:lpstr>
      <vt:lpstr>Diagram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loyd, Ava</dc:creator>
  <cp:lastModifiedBy>Lloyd, Ava</cp:lastModifiedBy>
  <cp:revision>62</cp:revision>
  <dcterms:created xsi:type="dcterms:W3CDTF">2020-11-12T18:46:02Z</dcterms:created>
  <dcterms:modified xsi:type="dcterms:W3CDTF">2020-11-22T18:0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99DB2226E9054EAA931B5CD736B336</vt:lpwstr>
  </property>
  <property fmtid="{D5CDD505-2E9C-101B-9397-08002B2CF9AE}" pid="3" name="Version">
    <vt:lpwstr>ASTR 3935 - Template &amp; Model Slides 18.pptx</vt:lpwstr>
  </property>
  <property fmtid="{D5CDD505-2E9C-101B-9397-08002B2CF9AE}" pid="4" name="ArticulateGUID">
    <vt:lpwstr>3147F588-80EE-4A79-8B90-D2BF272EDFE6</vt:lpwstr>
  </property>
  <property fmtid="{D5CDD505-2E9C-101B-9397-08002B2CF9AE}" pid="5" name="ArticulatePath">
    <vt:lpwstr>https://brightcarbon.sharepoint.com/sites/Intranet/Projects/ABCD/AstraZeneca/ASTR 3935 - AstraZeneca Template Build Project/Corporate Templates Design/BrightCarbon Template-Build/ASTR 3935 - Template &amp; Model Slides 13</vt:lpwstr>
  </property>
</Properties>
</file>